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59" r:id="rId2"/>
  </p:sldMasterIdLst>
  <p:notesMasterIdLst>
    <p:notesMasterId r:id="rId19"/>
  </p:notesMasterIdLst>
  <p:sldIdLst>
    <p:sldId id="264" r:id="rId3"/>
    <p:sldId id="267" r:id="rId4"/>
    <p:sldId id="266" r:id="rId5"/>
    <p:sldId id="268" r:id="rId6"/>
    <p:sldId id="270" r:id="rId7"/>
    <p:sldId id="271" r:id="rId8"/>
    <p:sldId id="272" r:id="rId9"/>
    <p:sldId id="273" r:id="rId10"/>
    <p:sldId id="274" r:id="rId11"/>
    <p:sldId id="275" r:id="rId12"/>
    <p:sldId id="276" r:id="rId13"/>
    <p:sldId id="277" r:id="rId14"/>
    <p:sldId id="278" r:id="rId15"/>
    <p:sldId id="279" r:id="rId16"/>
    <p:sldId id="265" r:id="rId17"/>
    <p:sldId id="269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6600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40" autoAdjust="0"/>
    <p:restoredTop sz="93899" autoAdjust="0"/>
  </p:normalViewPr>
  <p:slideViewPr>
    <p:cSldViewPr snapToGrid="0">
      <p:cViewPr varScale="1">
        <p:scale>
          <a:sx n="63" d="100"/>
          <a:sy n="63" d="100"/>
        </p:scale>
        <p:origin x="762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jp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1F77E0-8777-44CD-B983-9040C0E677C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A902049-E826-4F5F-9888-6737A1232987}">
      <dgm:prSet phldrT="[Text]"/>
      <dgm:spPr/>
      <dgm:t>
        <a:bodyPr/>
        <a:lstStyle/>
        <a:p>
          <a:r>
            <a:rPr lang="en-US" dirty="0" smtClean="0"/>
            <a:t>Node.js</a:t>
          </a:r>
          <a:endParaRPr lang="en-US" dirty="0"/>
        </a:p>
      </dgm:t>
    </dgm:pt>
    <dgm:pt modelId="{3DBCA4D4-7ACB-4CA6-883D-58AAC5561D28}" type="parTrans" cxnId="{1D76D923-E9E3-4E01-BD3F-FD7692CFDBB8}">
      <dgm:prSet/>
      <dgm:spPr/>
      <dgm:t>
        <a:bodyPr/>
        <a:lstStyle/>
        <a:p>
          <a:endParaRPr lang="en-US"/>
        </a:p>
      </dgm:t>
    </dgm:pt>
    <dgm:pt modelId="{F6CBD4B0-3F62-4DB1-BA37-DC7DCD20D5F2}" type="sibTrans" cxnId="{1D76D923-E9E3-4E01-BD3F-FD7692CFDBB8}">
      <dgm:prSet/>
      <dgm:spPr/>
      <dgm:t>
        <a:bodyPr/>
        <a:lstStyle/>
        <a:p>
          <a:endParaRPr lang="en-US"/>
        </a:p>
      </dgm:t>
    </dgm:pt>
    <dgm:pt modelId="{74E0B11D-48BD-4756-B36C-F366D139FBDF}">
      <dgm:prSet phldrT="[Text]"/>
      <dgm:spPr/>
      <dgm:t>
        <a:bodyPr/>
        <a:lstStyle/>
        <a:p>
          <a:r>
            <a:rPr lang="en-US" dirty="0" smtClean="0"/>
            <a:t>Express</a:t>
          </a:r>
          <a:endParaRPr lang="en-US" dirty="0"/>
        </a:p>
      </dgm:t>
    </dgm:pt>
    <dgm:pt modelId="{DEC3BF06-9003-4B95-9131-D7695989A812}" type="parTrans" cxnId="{CC743D3D-BB2D-45B0-A458-EE8FF865DBFD}">
      <dgm:prSet/>
      <dgm:spPr/>
      <dgm:t>
        <a:bodyPr/>
        <a:lstStyle/>
        <a:p>
          <a:endParaRPr lang="en-US"/>
        </a:p>
      </dgm:t>
    </dgm:pt>
    <dgm:pt modelId="{8F41575C-0922-4D05-A65B-F265280E48D0}" type="sibTrans" cxnId="{CC743D3D-BB2D-45B0-A458-EE8FF865DBFD}">
      <dgm:prSet/>
      <dgm:spPr/>
      <dgm:t>
        <a:bodyPr/>
        <a:lstStyle/>
        <a:p>
          <a:endParaRPr lang="en-US"/>
        </a:p>
      </dgm:t>
    </dgm:pt>
    <dgm:pt modelId="{BAAF93C9-EBAB-4DDB-9254-1DC3CFEB2A33}">
      <dgm:prSet phldrT="[Text]"/>
      <dgm:spPr/>
      <dgm:t>
        <a:bodyPr/>
        <a:lstStyle/>
        <a:p>
          <a:r>
            <a:rPr lang="en-US" dirty="0" smtClean="0"/>
            <a:t>PUG</a:t>
          </a:r>
          <a:endParaRPr lang="en-US" dirty="0"/>
        </a:p>
      </dgm:t>
    </dgm:pt>
    <dgm:pt modelId="{E566DB74-EB6C-4633-A816-B6244F8BF9C7}" type="parTrans" cxnId="{C3CED573-5861-4EC4-A39A-F9FB9BBA853A}">
      <dgm:prSet/>
      <dgm:spPr/>
      <dgm:t>
        <a:bodyPr/>
        <a:lstStyle/>
        <a:p>
          <a:endParaRPr lang="en-US"/>
        </a:p>
      </dgm:t>
    </dgm:pt>
    <dgm:pt modelId="{AEB73F06-B65A-484B-987F-7C0BA1426BDB}" type="sibTrans" cxnId="{C3CED573-5861-4EC4-A39A-F9FB9BBA853A}">
      <dgm:prSet/>
      <dgm:spPr/>
      <dgm:t>
        <a:bodyPr/>
        <a:lstStyle/>
        <a:p>
          <a:endParaRPr lang="en-US"/>
        </a:p>
      </dgm:t>
    </dgm:pt>
    <dgm:pt modelId="{CBC9E70A-CDE5-41FD-9086-84E470CBEB61}">
      <dgm:prSet/>
      <dgm:spPr/>
      <dgm:t>
        <a:bodyPr/>
        <a:lstStyle/>
        <a:p>
          <a:r>
            <a:rPr lang="en-US" dirty="0" smtClean="0"/>
            <a:t>Open Source, cross-platform.</a:t>
          </a:r>
          <a:endParaRPr lang="en-US" dirty="0"/>
        </a:p>
      </dgm:t>
    </dgm:pt>
    <dgm:pt modelId="{22366103-3580-4CE5-97E8-10E240FB22A4}" type="parTrans" cxnId="{0120B82A-F2BE-4807-9BF0-91C51258FBD8}">
      <dgm:prSet/>
      <dgm:spPr/>
      <dgm:t>
        <a:bodyPr/>
        <a:lstStyle/>
        <a:p>
          <a:endParaRPr lang="en-US"/>
        </a:p>
      </dgm:t>
    </dgm:pt>
    <dgm:pt modelId="{869DC977-786E-41A6-8360-607923D886BF}" type="sibTrans" cxnId="{0120B82A-F2BE-4807-9BF0-91C51258FBD8}">
      <dgm:prSet/>
      <dgm:spPr/>
      <dgm:t>
        <a:bodyPr/>
        <a:lstStyle/>
        <a:p>
          <a:endParaRPr lang="en-US"/>
        </a:p>
      </dgm:t>
    </dgm:pt>
    <dgm:pt modelId="{086A337D-60F8-4BCF-AF7E-ADE92780AB17}">
      <dgm:prSet/>
      <dgm:spPr/>
      <dgm:t>
        <a:bodyPr/>
        <a:lstStyle/>
        <a:p>
          <a:r>
            <a:rPr lang="en-US" dirty="0" smtClean="0"/>
            <a:t>JavaScript run time environment.</a:t>
          </a:r>
          <a:endParaRPr lang="en-US" dirty="0"/>
        </a:p>
      </dgm:t>
    </dgm:pt>
    <dgm:pt modelId="{57EBF368-A855-42E0-B70D-DD28FC341319}" type="parTrans" cxnId="{907BEAA3-45BA-498C-98AC-1927662746B0}">
      <dgm:prSet/>
      <dgm:spPr/>
      <dgm:t>
        <a:bodyPr/>
        <a:lstStyle/>
        <a:p>
          <a:endParaRPr lang="en-US"/>
        </a:p>
      </dgm:t>
    </dgm:pt>
    <dgm:pt modelId="{5FD303FA-4E9D-44D7-A2FA-026274CABFE7}" type="sibTrans" cxnId="{907BEAA3-45BA-498C-98AC-1927662746B0}">
      <dgm:prSet/>
      <dgm:spPr/>
      <dgm:t>
        <a:bodyPr/>
        <a:lstStyle/>
        <a:p>
          <a:endParaRPr lang="en-US"/>
        </a:p>
      </dgm:t>
    </dgm:pt>
    <dgm:pt modelId="{155F28C0-B6A5-439C-BAC5-59F8F68497F4}">
      <dgm:prSet/>
      <dgm:spPr/>
      <dgm:t>
        <a:bodyPr/>
        <a:lstStyle/>
        <a:p>
          <a:r>
            <a:rPr lang="en-US" dirty="0" smtClean="0"/>
            <a:t>Minimalist web framework for node.js</a:t>
          </a:r>
          <a:endParaRPr lang="en-US" dirty="0"/>
        </a:p>
      </dgm:t>
    </dgm:pt>
    <dgm:pt modelId="{9C4B6C2E-363A-4DBF-BD67-5CF7A845ECA2}" type="parTrans" cxnId="{74684F89-A4F1-485C-BE38-695C689627B0}">
      <dgm:prSet/>
      <dgm:spPr/>
      <dgm:t>
        <a:bodyPr/>
        <a:lstStyle/>
        <a:p>
          <a:endParaRPr lang="en-US"/>
        </a:p>
      </dgm:t>
    </dgm:pt>
    <dgm:pt modelId="{5D322B13-DC15-467D-8C96-9085D1B57CE7}" type="sibTrans" cxnId="{74684F89-A4F1-485C-BE38-695C689627B0}">
      <dgm:prSet/>
      <dgm:spPr/>
      <dgm:t>
        <a:bodyPr/>
        <a:lstStyle/>
        <a:p>
          <a:endParaRPr lang="en-US"/>
        </a:p>
      </dgm:t>
    </dgm:pt>
    <dgm:pt modelId="{416D2FFE-9645-428B-972D-51003531B58D}">
      <dgm:prSet/>
      <dgm:spPr/>
      <dgm:t>
        <a:bodyPr/>
        <a:lstStyle/>
        <a:p>
          <a:r>
            <a:rPr lang="en-US" dirty="0" smtClean="0"/>
            <a:t>Flexible and Robust.</a:t>
          </a:r>
          <a:endParaRPr lang="en-US" dirty="0"/>
        </a:p>
      </dgm:t>
    </dgm:pt>
    <dgm:pt modelId="{88E4633F-C372-4C7B-9978-AFA5ACF0997B}" type="parTrans" cxnId="{02EB1A61-4B69-449B-A178-2F3B37D8C456}">
      <dgm:prSet/>
      <dgm:spPr/>
      <dgm:t>
        <a:bodyPr/>
        <a:lstStyle/>
        <a:p>
          <a:endParaRPr lang="en-US"/>
        </a:p>
      </dgm:t>
    </dgm:pt>
    <dgm:pt modelId="{8F6CBDB5-8150-4BE3-BB83-8DB2F69A510D}" type="sibTrans" cxnId="{02EB1A61-4B69-449B-A178-2F3B37D8C456}">
      <dgm:prSet/>
      <dgm:spPr/>
      <dgm:t>
        <a:bodyPr/>
        <a:lstStyle/>
        <a:p>
          <a:endParaRPr lang="en-US"/>
        </a:p>
      </dgm:t>
    </dgm:pt>
    <dgm:pt modelId="{C7DD034B-D8AC-43CD-99CB-93812E7F85BC}">
      <dgm:prSet/>
      <dgm:spPr/>
      <dgm:t>
        <a:bodyPr/>
        <a:lstStyle/>
        <a:p>
          <a:r>
            <a:rPr lang="en-US" dirty="0" smtClean="0"/>
            <a:t>A middleman | Template Engine</a:t>
          </a:r>
          <a:endParaRPr lang="en-US" dirty="0"/>
        </a:p>
      </dgm:t>
    </dgm:pt>
    <dgm:pt modelId="{92D61201-385A-4103-B754-63FF417531AE}" type="parTrans" cxnId="{72177A5E-031D-40E2-8332-B9252EB0CF22}">
      <dgm:prSet/>
      <dgm:spPr/>
      <dgm:t>
        <a:bodyPr/>
        <a:lstStyle/>
        <a:p>
          <a:endParaRPr lang="en-US"/>
        </a:p>
      </dgm:t>
    </dgm:pt>
    <dgm:pt modelId="{A0B8C4B4-D20C-4728-B599-39842A3E0603}" type="sibTrans" cxnId="{72177A5E-031D-40E2-8332-B9252EB0CF22}">
      <dgm:prSet/>
      <dgm:spPr/>
      <dgm:t>
        <a:bodyPr/>
        <a:lstStyle/>
        <a:p>
          <a:endParaRPr lang="en-US"/>
        </a:p>
      </dgm:t>
    </dgm:pt>
    <dgm:pt modelId="{C56AD37D-5C71-4796-A7D0-6E6337FE36CD}">
      <dgm:prSet/>
      <dgm:spPr/>
      <dgm:t>
        <a:bodyPr/>
        <a:lstStyle/>
        <a:p>
          <a:r>
            <a:rPr lang="en-US" dirty="0" smtClean="0"/>
            <a:t>Intended HTML</a:t>
          </a:r>
          <a:endParaRPr lang="en-US" dirty="0"/>
        </a:p>
      </dgm:t>
    </dgm:pt>
    <dgm:pt modelId="{41C3BE35-BA27-4177-9625-C5295E505FC5}" type="parTrans" cxnId="{58064639-55E2-4A03-AC1A-8B4C335894C1}">
      <dgm:prSet/>
      <dgm:spPr/>
      <dgm:t>
        <a:bodyPr/>
        <a:lstStyle/>
        <a:p>
          <a:endParaRPr lang="en-US"/>
        </a:p>
      </dgm:t>
    </dgm:pt>
    <dgm:pt modelId="{43F4C689-C6EF-49B9-BB5E-01691A971999}" type="sibTrans" cxnId="{58064639-55E2-4A03-AC1A-8B4C335894C1}">
      <dgm:prSet/>
      <dgm:spPr/>
      <dgm:t>
        <a:bodyPr/>
        <a:lstStyle/>
        <a:p>
          <a:endParaRPr lang="en-US"/>
        </a:p>
      </dgm:t>
    </dgm:pt>
    <dgm:pt modelId="{984DC3BA-1299-439F-A0C0-A8918ECF2EF4}" type="pres">
      <dgm:prSet presAssocID="{281F77E0-8777-44CD-B983-9040C0E677C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BA1731B-3F6B-419E-B537-06A32877C3CF}" type="pres">
      <dgm:prSet presAssocID="{1A902049-E826-4F5F-9888-6737A1232987}" presName="parentLin" presStyleCnt="0"/>
      <dgm:spPr/>
    </dgm:pt>
    <dgm:pt modelId="{E0C5258D-E2FE-4D73-8BEC-65B9934D88F2}" type="pres">
      <dgm:prSet presAssocID="{1A902049-E826-4F5F-9888-6737A1232987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7B3ACB3D-200B-4120-B95C-A8F015908716}" type="pres">
      <dgm:prSet presAssocID="{1A902049-E826-4F5F-9888-6737A1232987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25B75C-037D-44EB-BF85-7C0AE8CA5D33}" type="pres">
      <dgm:prSet presAssocID="{1A902049-E826-4F5F-9888-6737A1232987}" presName="negativeSpace" presStyleCnt="0"/>
      <dgm:spPr/>
    </dgm:pt>
    <dgm:pt modelId="{8FA899B7-21A8-4737-B22B-F320C2DD2CEF}" type="pres">
      <dgm:prSet presAssocID="{1A902049-E826-4F5F-9888-6737A1232987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C02E4C-208C-44D3-9575-EC60859F82A9}" type="pres">
      <dgm:prSet presAssocID="{F6CBD4B0-3F62-4DB1-BA37-DC7DCD20D5F2}" presName="spaceBetweenRectangles" presStyleCnt="0"/>
      <dgm:spPr/>
    </dgm:pt>
    <dgm:pt modelId="{E5C432A8-D61D-4448-A341-5920D4817317}" type="pres">
      <dgm:prSet presAssocID="{74E0B11D-48BD-4756-B36C-F366D139FBDF}" presName="parentLin" presStyleCnt="0"/>
      <dgm:spPr/>
    </dgm:pt>
    <dgm:pt modelId="{181745D1-A9DB-4A4B-A688-2283B67AFAC1}" type="pres">
      <dgm:prSet presAssocID="{74E0B11D-48BD-4756-B36C-F366D139FBDF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8E8907EC-E10B-4E13-8B25-923CE5BF6B06}" type="pres">
      <dgm:prSet presAssocID="{74E0B11D-48BD-4756-B36C-F366D139FBDF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206C95-EED8-4B23-BB6E-FC56F99FF189}" type="pres">
      <dgm:prSet presAssocID="{74E0B11D-48BD-4756-B36C-F366D139FBDF}" presName="negativeSpace" presStyleCnt="0"/>
      <dgm:spPr/>
    </dgm:pt>
    <dgm:pt modelId="{625BB213-98FD-4698-83F1-2403CE58E6E8}" type="pres">
      <dgm:prSet presAssocID="{74E0B11D-48BD-4756-B36C-F366D139FBDF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62104F-C7E0-4523-BCAF-3CC246B38C4D}" type="pres">
      <dgm:prSet presAssocID="{8F41575C-0922-4D05-A65B-F265280E48D0}" presName="spaceBetweenRectangles" presStyleCnt="0"/>
      <dgm:spPr/>
    </dgm:pt>
    <dgm:pt modelId="{9D19B52E-E6A1-4152-89F4-F10D634A81C1}" type="pres">
      <dgm:prSet presAssocID="{BAAF93C9-EBAB-4DDB-9254-1DC3CFEB2A33}" presName="parentLin" presStyleCnt="0"/>
      <dgm:spPr/>
    </dgm:pt>
    <dgm:pt modelId="{0239650A-7168-402C-9CDE-A1A211F81B74}" type="pres">
      <dgm:prSet presAssocID="{BAAF93C9-EBAB-4DDB-9254-1DC3CFEB2A33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8C3326AD-5501-4A0C-94BC-0ADF48B84F97}" type="pres">
      <dgm:prSet presAssocID="{BAAF93C9-EBAB-4DDB-9254-1DC3CFEB2A33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77E48A-2ED7-4CCC-A429-FA5B452D1BD5}" type="pres">
      <dgm:prSet presAssocID="{BAAF93C9-EBAB-4DDB-9254-1DC3CFEB2A33}" presName="negativeSpace" presStyleCnt="0"/>
      <dgm:spPr/>
    </dgm:pt>
    <dgm:pt modelId="{FB31CBFF-F550-49FC-B805-3435938F468E}" type="pres">
      <dgm:prSet presAssocID="{BAAF93C9-EBAB-4DDB-9254-1DC3CFEB2A33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906A9C5-1A10-46E0-A97D-EF461C4E35B2}" type="presOf" srcId="{BAAF93C9-EBAB-4DDB-9254-1DC3CFEB2A33}" destId="{0239650A-7168-402C-9CDE-A1A211F81B74}" srcOrd="0" destOrd="0" presId="urn:microsoft.com/office/officeart/2005/8/layout/list1"/>
    <dgm:cxn modelId="{80FEBC4B-9422-4420-A153-89D17EECA8BF}" type="presOf" srcId="{281F77E0-8777-44CD-B983-9040C0E677C6}" destId="{984DC3BA-1299-439F-A0C0-A8918ECF2EF4}" srcOrd="0" destOrd="0" presId="urn:microsoft.com/office/officeart/2005/8/layout/list1"/>
    <dgm:cxn modelId="{E590A10D-800C-4B3A-A11F-9C168D82600B}" type="presOf" srcId="{086A337D-60F8-4BCF-AF7E-ADE92780AB17}" destId="{8FA899B7-21A8-4737-B22B-F320C2DD2CEF}" srcOrd="0" destOrd="1" presId="urn:microsoft.com/office/officeart/2005/8/layout/list1"/>
    <dgm:cxn modelId="{EC4E5E58-8970-48EC-BEEB-F026F8079775}" type="presOf" srcId="{C7DD034B-D8AC-43CD-99CB-93812E7F85BC}" destId="{FB31CBFF-F550-49FC-B805-3435938F468E}" srcOrd="0" destOrd="0" presId="urn:microsoft.com/office/officeart/2005/8/layout/list1"/>
    <dgm:cxn modelId="{CC743D3D-BB2D-45B0-A458-EE8FF865DBFD}" srcId="{281F77E0-8777-44CD-B983-9040C0E677C6}" destId="{74E0B11D-48BD-4756-B36C-F366D139FBDF}" srcOrd="1" destOrd="0" parTransId="{DEC3BF06-9003-4B95-9131-D7695989A812}" sibTransId="{8F41575C-0922-4D05-A65B-F265280E48D0}"/>
    <dgm:cxn modelId="{4872B987-DCF9-46B1-A18F-9A974E201DC8}" type="presOf" srcId="{C56AD37D-5C71-4796-A7D0-6E6337FE36CD}" destId="{FB31CBFF-F550-49FC-B805-3435938F468E}" srcOrd="0" destOrd="1" presId="urn:microsoft.com/office/officeart/2005/8/layout/list1"/>
    <dgm:cxn modelId="{58064639-55E2-4A03-AC1A-8B4C335894C1}" srcId="{BAAF93C9-EBAB-4DDB-9254-1DC3CFEB2A33}" destId="{C56AD37D-5C71-4796-A7D0-6E6337FE36CD}" srcOrd="1" destOrd="0" parTransId="{41C3BE35-BA27-4177-9625-C5295E505FC5}" sibTransId="{43F4C689-C6EF-49B9-BB5E-01691A971999}"/>
    <dgm:cxn modelId="{56C628B2-9794-45CA-9A99-4B17073B644C}" type="presOf" srcId="{CBC9E70A-CDE5-41FD-9086-84E470CBEB61}" destId="{8FA899B7-21A8-4737-B22B-F320C2DD2CEF}" srcOrd="0" destOrd="0" presId="urn:microsoft.com/office/officeart/2005/8/layout/list1"/>
    <dgm:cxn modelId="{74684F89-A4F1-485C-BE38-695C689627B0}" srcId="{74E0B11D-48BD-4756-B36C-F366D139FBDF}" destId="{155F28C0-B6A5-439C-BAC5-59F8F68497F4}" srcOrd="0" destOrd="0" parTransId="{9C4B6C2E-363A-4DBF-BD67-5CF7A845ECA2}" sibTransId="{5D322B13-DC15-467D-8C96-9085D1B57CE7}"/>
    <dgm:cxn modelId="{72177A5E-031D-40E2-8332-B9252EB0CF22}" srcId="{BAAF93C9-EBAB-4DDB-9254-1DC3CFEB2A33}" destId="{C7DD034B-D8AC-43CD-99CB-93812E7F85BC}" srcOrd="0" destOrd="0" parTransId="{92D61201-385A-4103-B754-63FF417531AE}" sibTransId="{A0B8C4B4-D20C-4728-B599-39842A3E0603}"/>
    <dgm:cxn modelId="{C3CED573-5861-4EC4-A39A-F9FB9BBA853A}" srcId="{281F77E0-8777-44CD-B983-9040C0E677C6}" destId="{BAAF93C9-EBAB-4DDB-9254-1DC3CFEB2A33}" srcOrd="2" destOrd="0" parTransId="{E566DB74-EB6C-4633-A816-B6244F8BF9C7}" sibTransId="{AEB73F06-B65A-484B-987F-7C0BA1426BDB}"/>
    <dgm:cxn modelId="{0820E8F3-7E66-48D4-ACFD-E7225E646641}" type="presOf" srcId="{1A902049-E826-4F5F-9888-6737A1232987}" destId="{7B3ACB3D-200B-4120-B95C-A8F015908716}" srcOrd="1" destOrd="0" presId="urn:microsoft.com/office/officeart/2005/8/layout/list1"/>
    <dgm:cxn modelId="{ACE1A166-5923-4F0F-951C-CE5792E900AA}" type="presOf" srcId="{155F28C0-B6A5-439C-BAC5-59F8F68497F4}" destId="{625BB213-98FD-4698-83F1-2403CE58E6E8}" srcOrd="0" destOrd="0" presId="urn:microsoft.com/office/officeart/2005/8/layout/list1"/>
    <dgm:cxn modelId="{1D76D923-E9E3-4E01-BD3F-FD7692CFDBB8}" srcId="{281F77E0-8777-44CD-B983-9040C0E677C6}" destId="{1A902049-E826-4F5F-9888-6737A1232987}" srcOrd="0" destOrd="0" parTransId="{3DBCA4D4-7ACB-4CA6-883D-58AAC5561D28}" sibTransId="{F6CBD4B0-3F62-4DB1-BA37-DC7DCD20D5F2}"/>
    <dgm:cxn modelId="{F4C84171-3D37-43C4-9505-83CB8E714217}" type="presOf" srcId="{416D2FFE-9645-428B-972D-51003531B58D}" destId="{625BB213-98FD-4698-83F1-2403CE58E6E8}" srcOrd="0" destOrd="1" presId="urn:microsoft.com/office/officeart/2005/8/layout/list1"/>
    <dgm:cxn modelId="{37FD050E-85B1-4F31-915E-B01C8D4FD8DF}" type="presOf" srcId="{74E0B11D-48BD-4756-B36C-F366D139FBDF}" destId="{181745D1-A9DB-4A4B-A688-2283B67AFAC1}" srcOrd="0" destOrd="0" presId="urn:microsoft.com/office/officeart/2005/8/layout/list1"/>
    <dgm:cxn modelId="{806A2873-202A-4607-B27D-40903B6FA0FB}" type="presOf" srcId="{1A902049-E826-4F5F-9888-6737A1232987}" destId="{E0C5258D-E2FE-4D73-8BEC-65B9934D88F2}" srcOrd="0" destOrd="0" presId="urn:microsoft.com/office/officeart/2005/8/layout/list1"/>
    <dgm:cxn modelId="{0120B82A-F2BE-4807-9BF0-91C51258FBD8}" srcId="{1A902049-E826-4F5F-9888-6737A1232987}" destId="{CBC9E70A-CDE5-41FD-9086-84E470CBEB61}" srcOrd="0" destOrd="0" parTransId="{22366103-3580-4CE5-97E8-10E240FB22A4}" sibTransId="{869DC977-786E-41A6-8360-607923D886BF}"/>
    <dgm:cxn modelId="{AE18AE5D-6F0F-488D-A21B-7ECCA07FD5E7}" type="presOf" srcId="{BAAF93C9-EBAB-4DDB-9254-1DC3CFEB2A33}" destId="{8C3326AD-5501-4A0C-94BC-0ADF48B84F97}" srcOrd="1" destOrd="0" presId="urn:microsoft.com/office/officeart/2005/8/layout/list1"/>
    <dgm:cxn modelId="{907BEAA3-45BA-498C-98AC-1927662746B0}" srcId="{1A902049-E826-4F5F-9888-6737A1232987}" destId="{086A337D-60F8-4BCF-AF7E-ADE92780AB17}" srcOrd="1" destOrd="0" parTransId="{57EBF368-A855-42E0-B70D-DD28FC341319}" sibTransId="{5FD303FA-4E9D-44D7-A2FA-026274CABFE7}"/>
    <dgm:cxn modelId="{C05B1FD6-1D45-44D5-9770-F9AA4A118BAB}" type="presOf" srcId="{74E0B11D-48BD-4756-B36C-F366D139FBDF}" destId="{8E8907EC-E10B-4E13-8B25-923CE5BF6B06}" srcOrd="1" destOrd="0" presId="urn:microsoft.com/office/officeart/2005/8/layout/list1"/>
    <dgm:cxn modelId="{02EB1A61-4B69-449B-A178-2F3B37D8C456}" srcId="{74E0B11D-48BD-4756-B36C-F366D139FBDF}" destId="{416D2FFE-9645-428B-972D-51003531B58D}" srcOrd="1" destOrd="0" parTransId="{88E4633F-C372-4C7B-9978-AFA5ACF0997B}" sibTransId="{8F6CBDB5-8150-4BE3-BB83-8DB2F69A510D}"/>
    <dgm:cxn modelId="{02E42452-13DF-44D5-8F2C-2B6914897A2F}" type="presParOf" srcId="{984DC3BA-1299-439F-A0C0-A8918ECF2EF4}" destId="{8BA1731B-3F6B-419E-B537-06A32877C3CF}" srcOrd="0" destOrd="0" presId="urn:microsoft.com/office/officeart/2005/8/layout/list1"/>
    <dgm:cxn modelId="{0E256D24-42D0-4154-BB22-42A1FF6806F6}" type="presParOf" srcId="{8BA1731B-3F6B-419E-B537-06A32877C3CF}" destId="{E0C5258D-E2FE-4D73-8BEC-65B9934D88F2}" srcOrd="0" destOrd="0" presId="urn:microsoft.com/office/officeart/2005/8/layout/list1"/>
    <dgm:cxn modelId="{9B7027CF-550A-42C4-B57C-1CE0B34045DF}" type="presParOf" srcId="{8BA1731B-3F6B-419E-B537-06A32877C3CF}" destId="{7B3ACB3D-200B-4120-B95C-A8F015908716}" srcOrd="1" destOrd="0" presId="urn:microsoft.com/office/officeart/2005/8/layout/list1"/>
    <dgm:cxn modelId="{177AD28B-DC7B-43D6-8BDF-B318A114BFD8}" type="presParOf" srcId="{984DC3BA-1299-439F-A0C0-A8918ECF2EF4}" destId="{A925B75C-037D-44EB-BF85-7C0AE8CA5D33}" srcOrd="1" destOrd="0" presId="urn:microsoft.com/office/officeart/2005/8/layout/list1"/>
    <dgm:cxn modelId="{2CC74C85-E9DE-489C-B6B6-42C8132101CD}" type="presParOf" srcId="{984DC3BA-1299-439F-A0C0-A8918ECF2EF4}" destId="{8FA899B7-21A8-4737-B22B-F320C2DD2CEF}" srcOrd="2" destOrd="0" presId="urn:microsoft.com/office/officeart/2005/8/layout/list1"/>
    <dgm:cxn modelId="{0F720AEC-7281-4CB6-89D0-2A57E92C16F5}" type="presParOf" srcId="{984DC3BA-1299-439F-A0C0-A8918ECF2EF4}" destId="{B6C02E4C-208C-44D3-9575-EC60859F82A9}" srcOrd="3" destOrd="0" presId="urn:microsoft.com/office/officeart/2005/8/layout/list1"/>
    <dgm:cxn modelId="{5DF8B90A-40C4-470A-8445-EEE4F1A50C23}" type="presParOf" srcId="{984DC3BA-1299-439F-A0C0-A8918ECF2EF4}" destId="{E5C432A8-D61D-4448-A341-5920D4817317}" srcOrd="4" destOrd="0" presId="urn:microsoft.com/office/officeart/2005/8/layout/list1"/>
    <dgm:cxn modelId="{16F53341-15BE-4738-8781-FA00BC799EEB}" type="presParOf" srcId="{E5C432A8-D61D-4448-A341-5920D4817317}" destId="{181745D1-A9DB-4A4B-A688-2283B67AFAC1}" srcOrd="0" destOrd="0" presId="urn:microsoft.com/office/officeart/2005/8/layout/list1"/>
    <dgm:cxn modelId="{7BAB7206-6293-40DB-A1B3-E4BA20B101FC}" type="presParOf" srcId="{E5C432A8-D61D-4448-A341-5920D4817317}" destId="{8E8907EC-E10B-4E13-8B25-923CE5BF6B06}" srcOrd="1" destOrd="0" presId="urn:microsoft.com/office/officeart/2005/8/layout/list1"/>
    <dgm:cxn modelId="{B080067A-F028-431E-9FFF-0B1B77DA16CE}" type="presParOf" srcId="{984DC3BA-1299-439F-A0C0-A8918ECF2EF4}" destId="{94206C95-EED8-4B23-BB6E-FC56F99FF189}" srcOrd="5" destOrd="0" presId="urn:microsoft.com/office/officeart/2005/8/layout/list1"/>
    <dgm:cxn modelId="{ADDAB9DE-B4A5-4397-9E9E-D5F04C32B7AB}" type="presParOf" srcId="{984DC3BA-1299-439F-A0C0-A8918ECF2EF4}" destId="{625BB213-98FD-4698-83F1-2403CE58E6E8}" srcOrd="6" destOrd="0" presId="urn:microsoft.com/office/officeart/2005/8/layout/list1"/>
    <dgm:cxn modelId="{7E046B49-59CC-49CE-99B3-362CA13E7AEB}" type="presParOf" srcId="{984DC3BA-1299-439F-A0C0-A8918ECF2EF4}" destId="{2462104F-C7E0-4523-BCAF-3CC246B38C4D}" srcOrd="7" destOrd="0" presId="urn:microsoft.com/office/officeart/2005/8/layout/list1"/>
    <dgm:cxn modelId="{B6B096F8-4AC8-4EBA-936B-8C0C36D89CE6}" type="presParOf" srcId="{984DC3BA-1299-439F-A0C0-A8918ECF2EF4}" destId="{9D19B52E-E6A1-4152-89F4-F10D634A81C1}" srcOrd="8" destOrd="0" presId="urn:microsoft.com/office/officeart/2005/8/layout/list1"/>
    <dgm:cxn modelId="{DBEE1DE6-5B3E-43AB-9836-7D2A395BB981}" type="presParOf" srcId="{9D19B52E-E6A1-4152-89F4-F10D634A81C1}" destId="{0239650A-7168-402C-9CDE-A1A211F81B74}" srcOrd="0" destOrd="0" presId="urn:microsoft.com/office/officeart/2005/8/layout/list1"/>
    <dgm:cxn modelId="{93BABC02-C7F5-4219-B83A-7D06D40A4EB2}" type="presParOf" srcId="{9D19B52E-E6A1-4152-89F4-F10D634A81C1}" destId="{8C3326AD-5501-4A0C-94BC-0ADF48B84F97}" srcOrd="1" destOrd="0" presId="urn:microsoft.com/office/officeart/2005/8/layout/list1"/>
    <dgm:cxn modelId="{4A4F897D-5CFB-4DF3-82B6-C73B5291DCF7}" type="presParOf" srcId="{984DC3BA-1299-439F-A0C0-A8918ECF2EF4}" destId="{5C77E48A-2ED7-4CCC-A429-FA5B452D1BD5}" srcOrd="9" destOrd="0" presId="urn:microsoft.com/office/officeart/2005/8/layout/list1"/>
    <dgm:cxn modelId="{E3C76257-A1CA-466E-9888-CE5E4A45BA8D}" type="presParOf" srcId="{984DC3BA-1299-439F-A0C0-A8918ECF2EF4}" destId="{FB31CBFF-F550-49FC-B805-3435938F468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F70AD35-7AD7-4453-98B0-BEFE44D6CE68}" type="doc">
      <dgm:prSet loTypeId="urn:microsoft.com/office/officeart/2005/8/layout/hProcess10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3A9C853-4ADB-4088-BAF1-3D1CEBC283D1}">
      <dgm:prSet phldrT="[Text]"/>
      <dgm:spPr/>
      <dgm:t>
        <a:bodyPr/>
        <a:lstStyle/>
        <a:p>
          <a:r>
            <a:rPr lang="en-US" dirty="0" smtClean="0"/>
            <a:t>GET</a:t>
          </a:r>
          <a:endParaRPr lang="en-US" dirty="0"/>
        </a:p>
      </dgm:t>
    </dgm:pt>
    <dgm:pt modelId="{FBB357C5-3C09-4A36-9031-A90DDBAF31E8}" type="parTrans" cxnId="{EE767D5E-0FF6-4CAA-9831-4CDB236F847F}">
      <dgm:prSet/>
      <dgm:spPr/>
      <dgm:t>
        <a:bodyPr/>
        <a:lstStyle/>
        <a:p>
          <a:endParaRPr lang="en-US"/>
        </a:p>
      </dgm:t>
    </dgm:pt>
    <dgm:pt modelId="{772AA168-FC8F-461E-AEDF-C64210E617F1}" type="sibTrans" cxnId="{EE767D5E-0FF6-4CAA-9831-4CDB236F847F}">
      <dgm:prSet/>
      <dgm:spPr/>
      <dgm:t>
        <a:bodyPr/>
        <a:lstStyle/>
        <a:p>
          <a:endParaRPr lang="en-US"/>
        </a:p>
      </dgm:t>
    </dgm:pt>
    <dgm:pt modelId="{DC6E53CC-8183-4D30-B754-1EE5F2A60070}">
      <dgm:prSet phldrT="[Text]"/>
      <dgm:spPr/>
      <dgm:t>
        <a:bodyPr/>
        <a:lstStyle/>
        <a:p>
          <a:r>
            <a:rPr lang="en-US" dirty="0" smtClean="0"/>
            <a:t>Retrieves a resource.</a:t>
          </a:r>
          <a:endParaRPr lang="en-US" dirty="0"/>
        </a:p>
      </dgm:t>
    </dgm:pt>
    <dgm:pt modelId="{0CF6B2F2-57A7-4794-B013-1E8D0E0FBB4C}" type="parTrans" cxnId="{551EB5B8-AA5D-4269-80E7-BB8BA46DBF4A}">
      <dgm:prSet/>
      <dgm:spPr/>
      <dgm:t>
        <a:bodyPr/>
        <a:lstStyle/>
        <a:p>
          <a:endParaRPr lang="en-US"/>
        </a:p>
      </dgm:t>
    </dgm:pt>
    <dgm:pt modelId="{0F45132F-DF07-4FEC-B3CE-181863BF5FFC}" type="sibTrans" cxnId="{551EB5B8-AA5D-4269-80E7-BB8BA46DBF4A}">
      <dgm:prSet/>
      <dgm:spPr/>
      <dgm:t>
        <a:bodyPr/>
        <a:lstStyle/>
        <a:p>
          <a:endParaRPr lang="en-US"/>
        </a:p>
      </dgm:t>
    </dgm:pt>
    <dgm:pt modelId="{F1130A2E-4DE7-4204-9DBC-4B32AC90AC67}">
      <dgm:prSet phldrT="[Text]"/>
      <dgm:spPr/>
      <dgm:t>
        <a:bodyPr/>
        <a:lstStyle/>
        <a:p>
          <a:r>
            <a:rPr lang="en-US" dirty="0" smtClean="0"/>
            <a:t>POST</a:t>
          </a:r>
          <a:endParaRPr lang="en-US" dirty="0"/>
        </a:p>
      </dgm:t>
    </dgm:pt>
    <dgm:pt modelId="{6E879FDC-F7A6-4697-994F-252C8693B606}" type="parTrans" cxnId="{764FAF17-1BAF-4535-99F9-280D5A04CE2A}">
      <dgm:prSet/>
      <dgm:spPr/>
      <dgm:t>
        <a:bodyPr/>
        <a:lstStyle/>
        <a:p>
          <a:endParaRPr lang="en-US"/>
        </a:p>
      </dgm:t>
    </dgm:pt>
    <dgm:pt modelId="{6B98B783-6F99-433C-8413-F9CBA0B3E5D2}" type="sibTrans" cxnId="{764FAF17-1BAF-4535-99F9-280D5A04CE2A}">
      <dgm:prSet/>
      <dgm:spPr/>
      <dgm:t>
        <a:bodyPr/>
        <a:lstStyle/>
        <a:p>
          <a:endParaRPr lang="en-US"/>
        </a:p>
      </dgm:t>
    </dgm:pt>
    <dgm:pt modelId="{C5BA6814-349C-4544-8577-9CA3F81767AE}">
      <dgm:prSet phldrT="[Text]"/>
      <dgm:spPr/>
      <dgm:t>
        <a:bodyPr/>
        <a:lstStyle/>
        <a:p>
          <a:r>
            <a:rPr lang="en-US" dirty="0" smtClean="0"/>
            <a:t>Creates a new resource.</a:t>
          </a:r>
          <a:endParaRPr lang="en-US" dirty="0"/>
        </a:p>
      </dgm:t>
    </dgm:pt>
    <dgm:pt modelId="{75DA7309-A21C-491B-ABFA-2551E6FA23FC}" type="parTrans" cxnId="{6E58F8B8-59C2-4CA9-90FC-2109FCB8DEFF}">
      <dgm:prSet/>
      <dgm:spPr/>
      <dgm:t>
        <a:bodyPr/>
        <a:lstStyle/>
        <a:p>
          <a:endParaRPr lang="en-US"/>
        </a:p>
      </dgm:t>
    </dgm:pt>
    <dgm:pt modelId="{CD0816A3-D04A-4CD7-ACB3-7645B77C437A}" type="sibTrans" cxnId="{6E58F8B8-59C2-4CA9-90FC-2109FCB8DEFF}">
      <dgm:prSet/>
      <dgm:spPr/>
      <dgm:t>
        <a:bodyPr/>
        <a:lstStyle/>
        <a:p>
          <a:endParaRPr lang="en-US"/>
        </a:p>
      </dgm:t>
    </dgm:pt>
    <dgm:pt modelId="{3A8ECCF4-CA96-44EF-800C-C09A5A85A059}">
      <dgm:prSet phldrT="[Text]"/>
      <dgm:spPr/>
      <dgm:t>
        <a:bodyPr/>
        <a:lstStyle/>
        <a:p>
          <a:r>
            <a:rPr lang="en-US" dirty="0" smtClean="0"/>
            <a:t>PUT</a:t>
          </a:r>
          <a:endParaRPr lang="en-US" dirty="0"/>
        </a:p>
      </dgm:t>
    </dgm:pt>
    <dgm:pt modelId="{5695C92B-D157-4197-8E0F-F861C42863FD}" type="parTrans" cxnId="{0A15A973-B452-442F-8771-30A24CE2DD10}">
      <dgm:prSet/>
      <dgm:spPr/>
      <dgm:t>
        <a:bodyPr/>
        <a:lstStyle/>
        <a:p>
          <a:endParaRPr lang="en-US"/>
        </a:p>
      </dgm:t>
    </dgm:pt>
    <dgm:pt modelId="{767F8FA7-08D3-4D06-B6D3-7A913695B3DD}" type="sibTrans" cxnId="{0A15A973-B452-442F-8771-30A24CE2DD10}">
      <dgm:prSet/>
      <dgm:spPr/>
      <dgm:t>
        <a:bodyPr/>
        <a:lstStyle/>
        <a:p>
          <a:endParaRPr lang="en-US"/>
        </a:p>
      </dgm:t>
    </dgm:pt>
    <dgm:pt modelId="{D054234D-4E96-4D44-B356-D242D3A42438}">
      <dgm:prSet phldrT="[Text]"/>
      <dgm:spPr/>
      <dgm:t>
        <a:bodyPr/>
        <a:lstStyle/>
        <a:p>
          <a:r>
            <a:rPr lang="en-US" dirty="0" smtClean="0"/>
            <a:t>Updates an existing resource.</a:t>
          </a:r>
          <a:endParaRPr lang="en-US" dirty="0"/>
        </a:p>
      </dgm:t>
    </dgm:pt>
    <dgm:pt modelId="{37C3840A-090F-4C0D-BD7A-4DC93FC8CD4B}" type="parTrans" cxnId="{AF42F6F4-D7ED-429A-9E33-C6C995B714BD}">
      <dgm:prSet/>
      <dgm:spPr/>
      <dgm:t>
        <a:bodyPr/>
        <a:lstStyle/>
        <a:p>
          <a:endParaRPr lang="en-US"/>
        </a:p>
      </dgm:t>
    </dgm:pt>
    <dgm:pt modelId="{EAECF0C1-7FF5-41B0-A0C3-BA36FAF4E02A}" type="sibTrans" cxnId="{AF42F6F4-D7ED-429A-9E33-C6C995B714BD}">
      <dgm:prSet/>
      <dgm:spPr/>
      <dgm:t>
        <a:bodyPr/>
        <a:lstStyle/>
        <a:p>
          <a:endParaRPr lang="en-US"/>
        </a:p>
      </dgm:t>
    </dgm:pt>
    <dgm:pt modelId="{9BE6D1F7-6249-4CDD-AFDC-2D81EDDCD3EE}">
      <dgm:prSet phldrT="[Text]"/>
      <dgm:spPr/>
      <dgm:t>
        <a:bodyPr/>
        <a:lstStyle/>
        <a:p>
          <a:r>
            <a:rPr lang="en-US" dirty="0" smtClean="0"/>
            <a:t>DELETE</a:t>
          </a:r>
          <a:endParaRPr lang="en-US" dirty="0"/>
        </a:p>
      </dgm:t>
    </dgm:pt>
    <dgm:pt modelId="{2A766B2F-003C-4C4C-BD36-4309F091D5A7}" type="parTrans" cxnId="{4AD5790C-4534-47E4-8109-B400C60E42DE}">
      <dgm:prSet/>
      <dgm:spPr/>
      <dgm:t>
        <a:bodyPr/>
        <a:lstStyle/>
        <a:p>
          <a:endParaRPr lang="en-US"/>
        </a:p>
      </dgm:t>
    </dgm:pt>
    <dgm:pt modelId="{23A5E245-0344-4040-B467-167982F96AF1}" type="sibTrans" cxnId="{4AD5790C-4534-47E4-8109-B400C60E42DE}">
      <dgm:prSet/>
      <dgm:spPr/>
      <dgm:t>
        <a:bodyPr/>
        <a:lstStyle/>
        <a:p>
          <a:endParaRPr lang="en-US"/>
        </a:p>
      </dgm:t>
    </dgm:pt>
    <dgm:pt modelId="{B854C1C3-C88E-42C9-995F-F5E24A21F07A}">
      <dgm:prSet phldrT="[Text]"/>
      <dgm:spPr/>
      <dgm:t>
        <a:bodyPr/>
        <a:lstStyle/>
        <a:p>
          <a:r>
            <a:rPr lang="en-US" dirty="0" smtClean="0"/>
            <a:t>Removes a resource.</a:t>
          </a:r>
          <a:endParaRPr lang="en-US" dirty="0"/>
        </a:p>
      </dgm:t>
    </dgm:pt>
    <dgm:pt modelId="{7A41E8D9-140A-4414-B89C-A56BA0398D33}" type="parTrans" cxnId="{62DF2931-999D-4FE6-8A3A-207B3B14968A}">
      <dgm:prSet/>
      <dgm:spPr/>
      <dgm:t>
        <a:bodyPr/>
        <a:lstStyle/>
        <a:p>
          <a:endParaRPr lang="en-US"/>
        </a:p>
      </dgm:t>
    </dgm:pt>
    <dgm:pt modelId="{43149E8E-594E-447A-A6C8-150CE2687687}" type="sibTrans" cxnId="{62DF2931-999D-4FE6-8A3A-207B3B14968A}">
      <dgm:prSet/>
      <dgm:spPr/>
      <dgm:t>
        <a:bodyPr/>
        <a:lstStyle/>
        <a:p>
          <a:endParaRPr lang="en-US"/>
        </a:p>
      </dgm:t>
    </dgm:pt>
    <dgm:pt modelId="{B9978D94-CBE7-4474-B561-4566D8148901}">
      <dgm:prSet phldrT="[Text]"/>
      <dgm:spPr/>
      <dgm:t>
        <a:bodyPr/>
        <a:lstStyle/>
        <a:p>
          <a:r>
            <a:rPr lang="en-US" dirty="0" smtClean="0"/>
            <a:t>No much side effect. </a:t>
          </a:r>
          <a:endParaRPr lang="en-US" dirty="0"/>
        </a:p>
      </dgm:t>
    </dgm:pt>
    <dgm:pt modelId="{A3E2CBD9-CCA8-4EF6-B434-5971FFB81A36}" type="parTrans" cxnId="{3AE1E888-3F29-4AA6-BF9A-602EB8F901FD}">
      <dgm:prSet/>
      <dgm:spPr/>
      <dgm:t>
        <a:bodyPr/>
        <a:lstStyle/>
        <a:p>
          <a:endParaRPr lang="en-US"/>
        </a:p>
      </dgm:t>
    </dgm:pt>
    <dgm:pt modelId="{A47A30FF-4FA8-4244-94D5-83FA890E55F7}" type="sibTrans" cxnId="{3AE1E888-3F29-4AA6-BF9A-602EB8F901FD}">
      <dgm:prSet/>
      <dgm:spPr/>
      <dgm:t>
        <a:bodyPr/>
        <a:lstStyle/>
        <a:p>
          <a:endParaRPr lang="en-US"/>
        </a:p>
      </dgm:t>
    </dgm:pt>
    <dgm:pt modelId="{19A8D8DC-BA41-4BD0-A284-379FE4A3DFB7}">
      <dgm:prSet phldrT="[Text]"/>
      <dgm:spPr/>
      <dgm:t>
        <a:bodyPr/>
        <a:lstStyle/>
        <a:p>
          <a:r>
            <a:rPr lang="en-US" dirty="0" smtClean="0"/>
            <a:t>Cacheable</a:t>
          </a:r>
          <a:endParaRPr lang="en-US" dirty="0"/>
        </a:p>
      </dgm:t>
    </dgm:pt>
    <dgm:pt modelId="{84DF6EC5-56EC-43D7-8BF5-3EB7137C9A30}" type="parTrans" cxnId="{2389C271-B531-4B2F-B601-3FB285438A20}">
      <dgm:prSet/>
      <dgm:spPr/>
      <dgm:t>
        <a:bodyPr/>
        <a:lstStyle/>
        <a:p>
          <a:endParaRPr lang="en-US"/>
        </a:p>
      </dgm:t>
    </dgm:pt>
    <dgm:pt modelId="{ABF10F30-A846-4CE8-8752-91ECB06240BE}" type="sibTrans" cxnId="{2389C271-B531-4B2F-B601-3FB285438A20}">
      <dgm:prSet/>
      <dgm:spPr/>
      <dgm:t>
        <a:bodyPr/>
        <a:lstStyle/>
        <a:p>
          <a:endParaRPr lang="en-US"/>
        </a:p>
      </dgm:t>
    </dgm:pt>
    <dgm:pt modelId="{64690988-E02A-403F-9051-9A16873F9973}" type="pres">
      <dgm:prSet presAssocID="{CF70AD35-7AD7-4453-98B0-BEFE44D6CE6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84B0668-0F17-42C2-85FB-EACBCE2AD51C}" type="pres">
      <dgm:prSet presAssocID="{83A9C853-4ADB-4088-BAF1-3D1CEBC283D1}" presName="composite" presStyleCnt="0"/>
      <dgm:spPr/>
    </dgm:pt>
    <dgm:pt modelId="{F473FCA0-324F-4B28-B380-2F9B11F80D40}" type="pres">
      <dgm:prSet presAssocID="{83A9C853-4ADB-4088-BAF1-3D1CEBC283D1}" presName="imagSh" presStyleLbl="b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</dgm:spPr>
    </dgm:pt>
    <dgm:pt modelId="{8564331D-B3C1-41D4-AF2F-E0D7F9602F1A}" type="pres">
      <dgm:prSet presAssocID="{83A9C853-4ADB-4088-BAF1-3D1CEBC283D1}" presName="tx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A94279-B3D4-4332-AE1D-1DEA0AE14B59}" type="pres">
      <dgm:prSet presAssocID="{772AA168-FC8F-461E-AEDF-C64210E617F1}" presName="sibTrans" presStyleLbl="sibTrans2D1" presStyleIdx="0" presStyleCnt="3"/>
      <dgm:spPr/>
      <dgm:t>
        <a:bodyPr/>
        <a:lstStyle/>
        <a:p>
          <a:endParaRPr lang="en-US"/>
        </a:p>
      </dgm:t>
    </dgm:pt>
    <dgm:pt modelId="{5848EA0B-074F-4663-B379-2032E5AC7C0F}" type="pres">
      <dgm:prSet presAssocID="{772AA168-FC8F-461E-AEDF-C64210E617F1}" presName="connTx" presStyleLbl="sibTrans2D1" presStyleIdx="0" presStyleCnt="3"/>
      <dgm:spPr/>
      <dgm:t>
        <a:bodyPr/>
        <a:lstStyle/>
        <a:p>
          <a:endParaRPr lang="en-US"/>
        </a:p>
      </dgm:t>
    </dgm:pt>
    <dgm:pt modelId="{27835EE8-156F-4CDE-80B8-662E526E7253}" type="pres">
      <dgm:prSet presAssocID="{F1130A2E-4DE7-4204-9DBC-4B32AC90AC67}" presName="composite" presStyleCnt="0"/>
      <dgm:spPr/>
    </dgm:pt>
    <dgm:pt modelId="{E160727E-1996-46BF-8B43-C7F6C6BE9CEA}" type="pres">
      <dgm:prSet presAssocID="{F1130A2E-4DE7-4204-9DBC-4B32AC90AC67}" presName="imagSh" presStyleLbl="bgImgPlace1" presStyleIdx="1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</dgm:spPr>
    </dgm:pt>
    <dgm:pt modelId="{945F8C05-348D-4995-8963-3935BFE4072A}" type="pres">
      <dgm:prSet presAssocID="{F1130A2E-4DE7-4204-9DBC-4B32AC90AC67}" presName="tx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3709DD-E287-4F5A-906C-5FDCE4FE0646}" type="pres">
      <dgm:prSet presAssocID="{6B98B783-6F99-433C-8413-F9CBA0B3E5D2}" presName="sibTrans" presStyleLbl="sibTrans2D1" presStyleIdx="1" presStyleCnt="3"/>
      <dgm:spPr/>
      <dgm:t>
        <a:bodyPr/>
        <a:lstStyle/>
        <a:p>
          <a:endParaRPr lang="en-US"/>
        </a:p>
      </dgm:t>
    </dgm:pt>
    <dgm:pt modelId="{DA3BDC3F-4B95-4E2D-AB89-8B45F8ACDD02}" type="pres">
      <dgm:prSet presAssocID="{6B98B783-6F99-433C-8413-F9CBA0B3E5D2}" presName="connTx" presStyleLbl="sibTrans2D1" presStyleIdx="1" presStyleCnt="3"/>
      <dgm:spPr/>
      <dgm:t>
        <a:bodyPr/>
        <a:lstStyle/>
        <a:p>
          <a:endParaRPr lang="en-US"/>
        </a:p>
      </dgm:t>
    </dgm:pt>
    <dgm:pt modelId="{90866F94-420E-4212-9B30-C1F4F67E3D2F}" type="pres">
      <dgm:prSet presAssocID="{3A8ECCF4-CA96-44EF-800C-C09A5A85A059}" presName="composite" presStyleCnt="0"/>
      <dgm:spPr/>
    </dgm:pt>
    <dgm:pt modelId="{DE4B8AEC-5527-4091-8E73-8D1FEDE87E14}" type="pres">
      <dgm:prSet presAssocID="{3A8ECCF4-CA96-44EF-800C-C09A5A85A059}" presName="imagSh" presStyleLbl="bgImgPlace1" presStyleIdx="2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</dgm:spPr>
      <dgm:t>
        <a:bodyPr/>
        <a:lstStyle/>
        <a:p>
          <a:endParaRPr lang="en-US"/>
        </a:p>
      </dgm:t>
    </dgm:pt>
    <dgm:pt modelId="{9B95253A-8018-43DD-8D66-75DA025D9392}" type="pres">
      <dgm:prSet presAssocID="{3A8ECCF4-CA96-44EF-800C-C09A5A85A059}" presName="tx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BA308A-C567-44D0-AE62-9EFCFC4A8DE5}" type="pres">
      <dgm:prSet presAssocID="{767F8FA7-08D3-4D06-B6D3-7A913695B3DD}" presName="sibTrans" presStyleLbl="sibTrans2D1" presStyleIdx="2" presStyleCnt="3"/>
      <dgm:spPr/>
      <dgm:t>
        <a:bodyPr/>
        <a:lstStyle/>
        <a:p>
          <a:endParaRPr lang="en-US"/>
        </a:p>
      </dgm:t>
    </dgm:pt>
    <dgm:pt modelId="{D0607486-2DA8-48C8-8C00-BA28E094FCC4}" type="pres">
      <dgm:prSet presAssocID="{767F8FA7-08D3-4D06-B6D3-7A913695B3DD}" presName="connTx" presStyleLbl="sibTrans2D1" presStyleIdx="2" presStyleCnt="3"/>
      <dgm:spPr/>
      <dgm:t>
        <a:bodyPr/>
        <a:lstStyle/>
        <a:p>
          <a:endParaRPr lang="en-US"/>
        </a:p>
      </dgm:t>
    </dgm:pt>
    <dgm:pt modelId="{36A965E7-7B1E-4B4F-8667-334F8056D822}" type="pres">
      <dgm:prSet presAssocID="{9BE6D1F7-6249-4CDD-AFDC-2D81EDDCD3EE}" presName="composite" presStyleCnt="0"/>
      <dgm:spPr/>
    </dgm:pt>
    <dgm:pt modelId="{86212746-3EC0-4C33-BB04-60CD1958E525}" type="pres">
      <dgm:prSet presAssocID="{9BE6D1F7-6249-4CDD-AFDC-2D81EDDCD3EE}" presName="imagSh" presStyleLbl="bgImgPlace1" presStyleIdx="3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</dgm:spPr>
    </dgm:pt>
    <dgm:pt modelId="{B93058FA-5BA0-41DB-AA4C-F3503B76A4E3}" type="pres">
      <dgm:prSet presAssocID="{9BE6D1F7-6249-4CDD-AFDC-2D81EDDCD3EE}" presName="tx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2DF2931-999D-4FE6-8A3A-207B3B14968A}" srcId="{9BE6D1F7-6249-4CDD-AFDC-2D81EDDCD3EE}" destId="{B854C1C3-C88E-42C9-995F-F5E24A21F07A}" srcOrd="0" destOrd="0" parTransId="{7A41E8D9-140A-4414-B89C-A56BA0398D33}" sibTransId="{43149E8E-594E-447A-A6C8-150CE2687687}"/>
    <dgm:cxn modelId="{6806213B-A209-462C-9721-BFE804A4696B}" type="presOf" srcId="{DC6E53CC-8183-4D30-B754-1EE5F2A60070}" destId="{8564331D-B3C1-41D4-AF2F-E0D7F9602F1A}" srcOrd="0" destOrd="1" presId="urn:microsoft.com/office/officeart/2005/8/layout/hProcess10"/>
    <dgm:cxn modelId="{0A15A973-B452-442F-8771-30A24CE2DD10}" srcId="{CF70AD35-7AD7-4453-98B0-BEFE44D6CE68}" destId="{3A8ECCF4-CA96-44EF-800C-C09A5A85A059}" srcOrd="2" destOrd="0" parTransId="{5695C92B-D157-4197-8E0F-F861C42863FD}" sibTransId="{767F8FA7-08D3-4D06-B6D3-7A913695B3DD}"/>
    <dgm:cxn modelId="{A531833B-C919-4513-A1E8-6249D98C773B}" type="presOf" srcId="{D054234D-4E96-4D44-B356-D242D3A42438}" destId="{9B95253A-8018-43DD-8D66-75DA025D9392}" srcOrd="0" destOrd="1" presId="urn:microsoft.com/office/officeart/2005/8/layout/hProcess10"/>
    <dgm:cxn modelId="{764FAF17-1BAF-4535-99F9-280D5A04CE2A}" srcId="{CF70AD35-7AD7-4453-98B0-BEFE44D6CE68}" destId="{F1130A2E-4DE7-4204-9DBC-4B32AC90AC67}" srcOrd="1" destOrd="0" parTransId="{6E879FDC-F7A6-4697-994F-252C8693B606}" sibTransId="{6B98B783-6F99-433C-8413-F9CBA0B3E5D2}"/>
    <dgm:cxn modelId="{CC770F60-07A9-4B9F-BD15-68010A9512C2}" type="presOf" srcId="{772AA168-FC8F-461E-AEDF-C64210E617F1}" destId="{5848EA0B-074F-4663-B379-2032E5AC7C0F}" srcOrd="1" destOrd="0" presId="urn:microsoft.com/office/officeart/2005/8/layout/hProcess10"/>
    <dgm:cxn modelId="{AF42F6F4-D7ED-429A-9E33-C6C995B714BD}" srcId="{3A8ECCF4-CA96-44EF-800C-C09A5A85A059}" destId="{D054234D-4E96-4D44-B356-D242D3A42438}" srcOrd="0" destOrd="0" parTransId="{37C3840A-090F-4C0D-BD7A-4DC93FC8CD4B}" sibTransId="{EAECF0C1-7FF5-41B0-A0C3-BA36FAF4E02A}"/>
    <dgm:cxn modelId="{1C1433B8-699A-4C6C-891A-EE11DCE07DE3}" type="presOf" srcId="{767F8FA7-08D3-4D06-B6D3-7A913695B3DD}" destId="{D0607486-2DA8-48C8-8C00-BA28E094FCC4}" srcOrd="1" destOrd="0" presId="urn:microsoft.com/office/officeart/2005/8/layout/hProcess10"/>
    <dgm:cxn modelId="{8013EF07-4478-4330-9D58-950ADCB431AB}" type="presOf" srcId="{9BE6D1F7-6249-4CDD-AFDC-2D81EDDCD3EE}" destId="{B93058FA-5BA0-41DB-AA4C-F3503B76A4E3}" srcOrd="0" destOrd="0" presId="urn:microsoft.com/office/officeart/2005/8/layout/hProcess10"/>
    <dgm:cxn modelId="{4DEA2A05-F1ED-4012-9C00-EB65C6A9A659}" type="presOf" srcId="{772AA168-FC8F-461E-AEDF-C64210E617F1}" destId="{8EA94279-B3D4-4332-AE1D-1DEA0AE14B59}" srcOrd="0" destOrd="0" presId="urn:microsoft.com/office/officeart/2005/8/layout/hProcess10"/>
    <dgm:cxn modelId="{72A09CD1-736D-478C-A133-624DF97DD5D4}" type="presOf" srcId="{B854C1C3-C88E-42C9-995F-F5E24A21F07A}" destId="{B93058FA-5BA0-41DB-AA4C-F3503B76A4E3}" srcOrd="0" destOrd="1" presId="urn:microsoft.com/office/officeart/2005/8/layout/hProcess10"/>
    <dgm:cxn modelId="{3AE1E888-3F29-4AA6-BF9A-602EB8F901FD}" srcId="{83A9C853-4ADB-4088-BAF1-3D1CEBC283D1}" destId="{B9978D94-CBE7-4474-B561-4566D8148901}" srcOrd="1" destOrd="0" parTransId="{A3E2CBD9-CCA8-4EF6-B434-5971FFB81A36}" sibTransId="{A47A30FF-4FA8-4244-94D5-83FA890E55F7}"/>
    <dgm:cxn modelId="{6E58F8B8-59C2-4CA9-90FC-2109FCB8DEFF}" srcId="{F1130A2E-4DE7-4204-9DBC-4B32AC90AC67}" destId="{C5BA6814-349C-4544-8577-9CA3F81767AE}" srcOrd="0" destOrd="0" parTransId="{75DA7309-A21C-491B-ABFA-2551E6FA23FC}" sibTransId="{CD0816A3-D04A-4CD7-ACB3-7645B77C437A}"/>
    <dgm:cxn modelId="{57E79CDD-F14C-4704-9520-EC927F7F5E79}" type="presOf" srcId="{83A9C853-4ADB-4088-BAF1-3D1CEBC283D1}" destId="{8564331D-B3C1-41D4-AF2F-E0D7F9602F1A}" srcOrd="0" destOrd="0" presId="urn:microsoft.com/office/officeart/2005/8/layout/hProcess10"/>
    <dgm:cxn modelId="{EE767D5E-0FF6-4CAA-9831-4CDB236F847F}" srcId="{CF70AD35-7AD7-4453-98B0-BEFE44D6CE68}" destId="{83A9C853-4ADB-4088-BAF1-3D1CEBC283D1}" srcOrd="0" destOrd="0" parTransId="{FBB357C5-3C09-4A36-9031-A90DDBAF31E8}" sibTransId="{772AA168-FC8F-461E-AEDF-C64210E617F1}"/>
    <dgm:cxn modelId="{63CCA5D7-C2AF-4DE0-B929-8373C74CAAC6}" type="presOf" srcId="{19A8D8DC-BA41-4BD0-A284-379FE4A3DFB7}" destId="{8564331D-B3C1-41D4-AF2F-E0D7F9602F1A}" srcOrd="0" destOrd="3" presId="urn:microsoft.com/office/officeart/2005/8/layout/hProcess10"/>
    <dgm:cxn modelId="{EB52D665-8DE7-48DB-AAB8-032EA8F1A1FD}" type="presOf" srcId="{C5BA6814-349C-4544-8577-9CA3F81767AE}" destId="{945F8C05-348D-4995-8963-3935BFE4072A}" srcOrd="0" destOrd="1" presId="urn:microsoft.com/office/officeart/2005/8/layout/hProcess10"/>
    <dgm:cxn modelId="{2389C271-B531-4B2F-B601-3FB285438A20}" srcId="{83A9C853-4ADB-4088-BAF1-3D1CEBC283D1}" destId="{19A8D8DC-BA41-4BD0-A284-379FE4A3DFB7}" srcOrd="2" destOrd="0" parTransId="{84DF6EC5-56EC-43D7-8BF5-3EB7137C9A30}" sibTransId="{ABF10F30-A846-4CE8-8752-91ECB06240BE}"/>
    <dgm:cxn modelId="{2AA87FE6-57C2-4988-9EC8-CE6486B007CE}" type="presOf" srcId="{F1130A2E-4DE7-4204-9DBC-4B32AC90AC67}" destId="{945F8C05-348D-4995-8963-3935BFE4072A}" srcOrd="0" destOrd="0" presId="urn:microsoft.com/office/officeart/2005/8/layout/hProcess10"/>
    <dgm:cxn modelId="{0BBBFC07-49F1-456E-888D-BD6758CADD62}" type="presOf" srcId="{CF70AD35-7AD7-4453-98B0-BEFE44D6CE68}" destId="{64690988-E02A-403F-9051-9A16873F9973}" srcOrd="0" destOrd="0" presId="urn:microsoft.com/office/officeart/2005/8/layout/hProcess10"/>
    <dgm:cxn modelId="{F2F00DD8-6106-4ADB-AFAE-5932746D8E2C}" type="presOf" srcId="{767F8FA7-08D3-4D06-B6D3-7A913695B3DD}" destId="{7ABA308A-C567-44D0-AE62-9EFCFC4A8DE5}" srcOrd="0" destOrd="0" presId="urn:microsoft.com/office/officeart/2005/8/layout/hProcess10"/>
    <dgm:cxn modelId="{3E087C37-461C-4E06-872D-7309BD042E8E}" type="presOf" srcId="{6B98B783-6F99-433C-8413-F9CBA0B3E5D2}" destId="{CC3709DD-E287-4F5A-906C-5FDCE4FE0646}" srcOrd="0" destOrd="0" presId="urn:microsoft.com/office/officeart/2005/8/layout/hProcess10"/>
    <dgm:cxn modelId="{716E3BE2-1AEA-48DF-B136-040ABC616196}" type="presOf" srcId="{B9978D94-CBE7-4474-B561-4566D8148901}" destId="{8564331D-B3C1-41D4-AF2F-E0D7F9602F1A}" srcOrd="0" destOrd="2" presId="urn:microsoft.com/office/officeart/2005/8/layout/hProcess10"/>
    <dgm:cxn modelId="{68F44AC8-D166-45A5-AF86-ED790DE04143}" type="presOf" srcId="{3A8ECCF4-CA96-44EF-800C-C09A5A85A059}" destId="{9B95253A-8018-43DD-8D66-75DA025D9392}" srcOrd="0" destOrd="0" presId="urn:microsoft.com/office/officeart/2005/8/layout/hProcess10"/>
    <dgm:cxn modelId="{4AD5790C-4534-47E4-8109-B400C60E42DE}" srcId="{CF70AD35-7AD7-4453-98B0-BEFE44D6CE68}" destId="{9BE6D1F7-6249-4CDD-AFDC-2D81EDDCD3EE}" srcOrd="3" destOrd="0" parTransId="{2A766B2F-003C-4C4C-BD36-4309F091D5A7}" sibTransId="{23A5E245-0344-4040-B467-167982F96AF1}"/>
    <dgm:cxn modelId="{551EB5B8-AA5D-4269-80E7-BB8BA46DBF4A}" srcId="{83A9C853-4ADB-4088-BAF1-3D1CEBC283D1}" destId="{DC6E53CC-8183-4D30-B754-1EE5F2A60070}" srcOrd="0" destOrd="0" parTransId="{0CF6B2F2-57A7-4794-B013-1E8D0E0FBB4C}" sibTransId="{0F45132F-DF07-4FEC-B3CE-181863BF5FFC}"/>
    <dgm:cxn modelId="{364ECB74-5E40-474C-8F5F-0696AD475ECC}" type="presOf" srcId="{6B98B783-6F99-433C-8413-F9CBA0B3E5D2}" destId="{DA3BDC3F-4B95-4E2D-AB89-8B45F8ACDD02}" srcOrd="1" destOrd="0" presId="urn:microsoft.com/office/officeart/2005/8/layout/hProcess10"/>
    <dgm:cxn modelId="{4EE232D3-898A-4707-8F31-2AB05C460596}" type="presParOf" srcId="{64690988-E02A-403F-9051-9A16873F9973}" destId="{A84B0668-0F17-42C2-85FB-EACBCE2AD51C}" srcOrd="0" destOrd="0" presId="urn:microsoft.com/office/officeart/2005/8/layout/hProcess10"/>
    <dgm:cxn modelId="{ABA23F2F-2F44-4774-8B8E-7B292A960C81}" type="presParOf" srcId="{A84B0668-0F17-42C2-85FB-EACBCE2AD51C}" destId="{F473FCA0-324F-4B28-B380-2F9B11F80D40}" srcOrd="0" destOrd="0" presId="urn:microsoft.com/office/officeart/2005/8/layout/hProcess10"/>
    <dgm:cxn modelId="{6FDEE82E-6F1D-4BE1-9B45-AFB727697D5E}" type="presParOf" srcId="{A84B0668-0F17-42C2-85FB-EACBCE2AD51C}" destId="{8564331D-B3C1-41D4-AF2F-E0D7F9602F1A}" srcOrd="1" destOrd="0" presId="urn:microsoft.com/office/officeart/2005/8/layout/hProcess10"/>
    <dgm:cxn modelId="{0A72D6D7-2313-4D37-845F-2B3F7C344A04}" type="presParOf" srcId="{64690988-E02A-403F-9051-9A16873F9973}" destId="{8EA94279-B3D4-4332-AE1D-1DEA0AE14B59}" srcOrd="1" destOrd="0" presId="urn:microsoft.com/office/officeart/2005/8/layout/hProcess10"/>
    <dgm:cxn modelId="{B7B8CDBB-9775-4462-9739-1D681C9FFE26}" type="presParOf" srcId="{8EA94279-B3D4-4332-AE1D-1DEA0AE14B59}" destId="{5848EA0B-074F-4663-B379-2032E5AC7C0F}" srcOrd="0" destOrd="0" presId="urn:microsoft.com/office/officeart/2005/8/layout/hProcess10"/>
    <dgm:cxn modelId="{9FFA6F2F-74F9-408D-BCF1-0E5DEB031DF1}" type="presParOf" srcId="{64690988-E02A-403F-9051-9A16873F9973}" destId="{27835EE8-156F-4CDE-80B8-662E526E7253}" srcOrd="2" destOrd="0" presId="urn:microsoft.com/office/officeart/2005/8/layout/hProcess10"/>
    <dgm:cxn modelId="{1AE59171-1F77-41A3-B1C6-EF46E67E01C4}" type="presParOf" srcId="{27835EE8-156F-4CDE-80B8-662E526E7253}" destId="{E160727E-1996-46BF-8B43-C7F6C6BE9CEA}" srcOrd="0" destOrd="0" presId="urn:microsoft.com/office/officeart/2005/8/layout/hProcess10"/>
    <dgm:cxn modelId="{67317926-04B4-41AD-AC69-97D1E31D4D9B}" type="presParOf" srcId="{27835EE8-156F-4CDE-80B8-662E526E7253}" destId="{945F8C05-348D-4995-8963-3935BFE4072A}" srcOrd="1" destOrd="0" presId="urn:microsoft.com/office/officeart/2005/8/layout/hProcess10"/>
    <dgm:cxn modelId="{F4B3403B-5396-48DE-BF38-921664CC7862}" type="presParOf" srcId="{64690988-E02A-403F-9051-9A16873F9973}" destId="{CC3709DD-E287-4F5A-906C-5FDCE4FE0646}" srcOrd="3" destOrd="0" presId="urn:microsoft.com/office/officeart/2005/8/layout/hProcess10"/>
    <dgm:cxn modelId="{BACD37DF-A875-4DB6-AE5E-26D6B17F7B57}" type="presParOf" srcId="{CC3709DD-E287-4F5A-906C-5FDCE4FE0646}" destId="{DA3BDC3F-4B95-4E2D-AB89-8B45F8ACDD02}" srcOrd="0" destOrd="0" presId="urn:microsoft.com/office/officeart/2005/8/layout/hProcess10"/>
    <dgm:cxn modelId="{9C8B131E-827B-4098-BA07-040F4FB4A709}" type="presParOf" srcId="{64690988-E02A-403F-9051-9A16873F9973}" destId="{90866F94-420E-4212-9B30-C1F4F67E3D2F}" srcOrd="4" destOrd="0" presId="urn:microsoft.com/office/officeart/2005/8/layout/hProcess10"/>
    <dgm:cxn modelId="{62069D2E-76DE-4975-BBEB-C2C93718E2B2}" type="presParOf" srcId="{90866F94-420E-4212-9B30-C1F4F67E3D2F}" destId="{DE4B8AEC-5527-4091-8E73-8D1FEDE87E14}" srcOrd="0" destOrd="0" presId="urn:microsoft.com/office/officeart/2005/8/layout/hProcess10"/>
    <dgm:cxn modelId="{A42E6918-AE31-4D88-9E0C-6AF0D08EF212}" type="presParOf" srcId="{90866F94-420E-4212-9B30-C1F4F67E3D2F}" destId="{9B95253A-8018-43DD-8D66-75DA025D9392}" srcOrd="1" destOrd="0" presId="urn:microsoft.com/office/officeart/2005/8/layout/hProcess10"/>
    <dgm:cxn modelId="{68BBD922-3B8C-4460-916C-3ABE4F4F450D}" type="presParOf" srcId="{64690988-E02A-403F-9051-9A16873F9973}" destId="{7ABA308A-C567-44D0-AE62-9EFCFC4A8DE5}" srcOrd="5" destOrd="0" presId="urn:microsoft.com/office/officeart/2005/8/layout/hProcess10"/>
    <dgm:cxn modelId="{276F41E2-B5F2-4F29-AEBE-02C806357438}" type="presParOf" srcId="{7ABA308A-C567-44D0-AE62-9EFCFC4A8DE5}" destId="{D0607486-2DA8-48C8-8C00-BA28E094FCC4}" srcOrd="0" destOrd="0" presId="urn:microsoft.com/office/officeart/2005/8/layout/hProcess10"/>
    <dgm:cxn modelId="{96EC1F18-0FF6-4B37-A5B5-E85E02A51BB2}" type="presParOf" srcId="{64690988-E02A-403F-9051-9A16873F9973}" destId="{36A965E7-7B1E-4B4F-8667-334F8056D822}" srcOrd="6" destOrd="0" presId="urn:microsoft.com/office/officeart/2005/8/layout/hProcess10"/>
    <dgm:cxn modelId="{86CAC993-F3BC-4135-BCA5-72071EC4989F}" type="presParOf" srcId="{36A965E7-7B1E-4B4F-8667-334F8056D822}" destId="{86212746-3EC0-4C33-BB04-60CD1958E525}" srcOrd="0" destOrd="0" presId="urn:microsoft.com/office/officeart/2005/8/layout/hProcess10"/>
    <dgm:cxn modelId="{1775FF03-9185-4A76-A3DD-0A293A919DB5}" type="presParOf" srcId="{36A965E7-7B1E-4B4F-8667-334F8056D822}" destId="{B93058FA-5BA0-41DB-AA4C-F3503B76A4E3}" srcOrd="1" destOrd="0" presId="urn:microsoft.com/office/officeart/2005/8/layout/hProcess10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A899B7-21A8-4737-B22B-F320C2DD2CEF}">
      <dsp:nvSpPr>
        <dsp:cNvPr id="0" name=""/>
        <dsp:cNvSpPr/>
      </dsp:nvSpPr>
      <dsp:spPr>
        <a:xfrm>
          <a:off x="0" y="372203"/>
          <a:ext cx="5181600" cy="1048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2150" tIns="374904" rIns="402150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Open Source, cross-platform.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JavaScript run time environment.</a:t>
          </a:r>
          <a:endParaRPr lang="en-US" sz="1800" kern="1200" dirty="0"/>
        </a:p>
      </dsp:txBody>
      <dsp:txXfrm>
        <a:off x="0" y="372203"/>
        <a:ext cx="5181600" cy="1048950"/>
      </dsp:txXfrm>
    </dsp:sp>
    <dsp:sp modelId="{7B3ACB3D-200B-4120-B95C-A8F015908716}">
      <dsp:nvSpPr>
        <dsp:cNvPr id="0" name=""/>
        <dsp:cNvSpPr/>
      </dsp:nvSpPr>
      <dsp:spPr>
        <a:xfrm>
          <a:off x="259080" y="106523"/>
          <a:ext cx="362712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097" tIns="0" rIns="13709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Node.js</a:t>
          </a:r>
          <a:endParaRPr lang="en-US" sz="1800" kern="1200" dirty="0"/>
        </a:p>
      </dsp:txBody>
      <dsp:txXfrm>
        <a:off x="285019" y="132462"/>
        <a:ext cx="3575242" cy="479482"/>
      </dsp:txXfrm>
    </dsp:sp>
    <dsp:sp modelId="{625BB213-98FD-4698-83F1-2403CE58E6E8}">
      <dsp:nvSpPr>
        <dsp:cNvPr id="0" name=""/>
        <dsp:cNvSpPr/>
      </dsp:nvSpPr>
      <dsp:spPr>
        <a:xfrm>
          <a:off x="0" y="1784034"/>
          <a:ext cx="5181600" cy="1048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2150" tIns="374904" rIns="402150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Minimalist web framework for node.js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Flexible and Robust.</a:t>
          </a:r>
          <a:endParaRPr lang="en-US" sz="1800" kern="1200" dirty="0"/>
        </a:p>
      </dsp:txBody>
      <dsp:txXfrm>
        <a:off x="0" y="1784034"/>
        <a:ext cx="5181600" cy="1048950"/>
      </dsp:txXfrm>
    </dsp:sp>
    <dsp:sp modelId="{8E8907EC-E10B-4E13-8B25-923CE5BF6B06}">
      <dsp:nvSpPr>
        <dsp:cNvPr id="0" name=""/>
        <dsp:cNvSpPr/>
      </dsp:nvSpPr>
      <dsp:spPr>
        <a:xfrm>
          <a:off x="259080" y="1518353"/>
          <a:ext cx="362712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097" tIns="0" rIns="13709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xpress</a:t>
          </a:r>
          <a:endParaRPr lang="en-US" sz="1800" kern="1200" dirty="0"/>
        </a:p>
      </dsp:txBody>
      <dsp:txXfrm>
        <a:off x="285019" y="1544292"/>
        <a:ext cx="3575242" cy="479482"/>
      </dsp:txXfrm>
    </dsp:sp>
    <dsp:sp modelId="{FB31CBFF-F550-49FC-B805-3435938F468E}">
      <dsp:nvSpPr>
        <dsp:cNvPr id="0" name=""/>
        <dsp:cNvSpPr/>
      </dsp:nvSpPr>
      <dsp:spPr>
        <a:xfrm>
          <a:off x="0" y="3195864"/>
          <a:ext cx="5181600" cy="1048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2150" tIns="374904" rIns="402150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A middleman | Template Engine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Intended HTML</a:t>
          </a:r>
          <a:endParaRPr lang="en-US" sz="1800" kern="1200" dirty="0"/>
        </a:p>
      </dsp:txBody>
      <dsp:txXfrm>
        <a:off x="0" y="3195864"/>
        <a:ext cx="5181600" cy="1048950"/>
      </dsp:txXfrm>
    </dsp:sp>
    <dsp:sp modelId="{8C3326AD-5501-4A0C-94BC-0ADF48B84F97}">
      <dsp:nvSpPr>
        <dsp:cNvPr id="0" name=""/>
        <dsp:cNvSpPr/>
      </dsp:nvSpPr>
      <dsp:spPr>
        <a:xfrm>
          <a:off x="259080" y="2930184"/>
          <a:ext cx="362712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097" tIns="0" rIns="13709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UG</a:t>
          </a:r>
          <a:endParaRPr lang="en-US" sz="1800" kern="1200" dirty="0"/>
        </a:p>
      </dsp:txBody>
      <dsp:txXfrm>
        <a:off x="285019" y="2956123"/>
        <a:ext cx="3575242" cy="4794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73FCA0-324F-4B28-B380-2F9B11F80D40}">
      <dsp:nvSpPr>
        <dsp:cNvPr id="0" name=""/>
        <dsp:cNvSpPr/>
      </dsp:nvSpPr>
      <dsp:spPr>
        <a:xfrm>
          <a:off x="1296" y="1143967"/>
          <a:ext cx="1687692" cy="16876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64331D-B3C1-41D4-AF2F-E0D7F9602F1A}">
      <dsp:nvSpPr>
        <dsp:cNvPr id="0" name=""/>
        <dsp:cNvSpPr/>
      </dsp:nvSpPr>
      <dsp:spPr>
        <a:xfrm>
          <a:off x="276036" y="2156583"/>
          <a:ext cx="1687692" cy="1687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GET</a:t>
          </a:r>
          <a:endParaRPr lang="en-US" sz="19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Retrieves a resource.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No much side effect. 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Cacheable</a:t>
          </a:r>
          <a:endParaRPr lang="en-US" sz="1500" kern="1200" dirty="0"/>
        </a:p>
      </dsp:txBody>
      <dsp:txXfrm>
        <a:off x="325467" y="2206014"/>
        <a:ext cx="1588830" cy="1588830"/>
      </dsp:txXfrm>
    </dsp:sp>
    <dsp:sp modelId="{8EA94279-B3D4-4332-AE1D-1DEA0AE14B59}">
      <dsp:nvSpPr>
        <dsp:cNvPr id="0" name=""/>
        <dsp:cNvSpPr/>
      </dsp:nvSpPr>
      <dsp:spPr>
        <a:xfrm>
          <a:off x="2014075" y="1785049"/>
          <a:ext cx="325086" cy="4055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>
        <a:off x="2014075" y="1866155"/>
        <a:ext cx="227560" cy="243316"/>
      </dsp:txXfrm>
    </dsp:sp>
    <dsp:sp modelId="{E160727E-1996-46BF-8B43-C7F6C6BE9CEA}">
      <dsp:nvSpPr>
        <dsp:cNvPr id="0" name=""/>
        <dsp:cNvSpPr/>
      </dsp:nvSpPr>
      <dsp:spPr>
        <a:xfrm>
          <a:off x="2617807" y="1143967"/>
          <a:ext cx="1687692" cy="16876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5F8C05-348D-4995-8963-3935BFE4072A}">
      <dsp:nvSpPr>
        <dsp:cNvPr id="0" name=""/>
        <dsp:cNvSpPr/>
      </dsp:nvSpPr>
      <dsp:spPr>
        <a:xfrm>
          <a:off x="2892548" y="2156583"/>
          <a:ext cx="1687692" cy="1687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POST</a:t>
          </a:r>
          <a:endParaRPr lang="en-US" sz="19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Creates a new resource.</a:t>
          </a:r>
          <a:endParaRPr lang="en-US" sz="1500" kern="1200" dirty="0"/>
        </a:p>
      </dsp:txBody>
      <dsp:txXfrm>
        <a:off x="2941979" y="2206014"/>
        <a:ext cx="1588830" cy="1588830"/>
      </dsp:txXfrm>
    </dsp:sp>
    <dsp:sp modelId="{CC3709DD-E287-4F5A-906C-5FDCE4FE0646}">
      <dsp:nvSpPr>
        <dsp:cNvPr id="0" name=""/>
        <dsp:cNvSpPr/>
      </dsp:nvSpPr>
      <dsp:spPr>
        <a:xfrm>
          <a:off x="4630586" y="1785049"/>
          <a:ext cx="325086" cy="4055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>
        <a:off x="4630586" y="1866155"/>
        <a:ext cx="227560" cy="243316"/>
      </dsp:txXfrm>
    </dsp:sp>
    <dsp:sp modelId="{DE4B8AEC-5527-4091-8E73-8D1FEDE87E14}">
      <dsp:nvSpPr>
        <dsp:cNvPr id="0" name=""/>
        <dsp:cNvSpPr/>
      </dsp:nvSpPr>
      <dsp:spPr>
        <a:xfrm>
          <a:off x="5234319" y="1143967"/>
          <a:ext cx="1687692" cy="16876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B95253A-8018-43DD-8D66-75DA025D9392}">
      <dsp:nvSpPr>
        <dsp:cNvPr id="0" name=""/>
        <dsp:cNvSpPr/>
      </dsp:nvSpPr>
      <dsp:spPr>
        <a:xfrm>
          <a:off x="5509060" y="2156583"/>
          <a:ext cx="1687692" cy="1687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PUT</a:t>
          </a:r>
          <a:endParaRPr lang="en-US" sz="19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Updates an existing resource.</a:t>
          </a:r>
          <a:endParaRPr lang="en-US" sz="1500" kern="1200" dirty="0"/>
        </a:p>
      </dsp:txBody>
      <dsp:txXfrm>
        <a:off x="5558491" y="2206014"/>
        <a:ext cx="1588830" cy="1588830"/>
      </dsp:txXfrm>
    </dsp:sp>
    <dsp:sp modelId="{7ABA308A-C567-44D0-AE62-9EFCFC4A8DE5}">
      <dsp:nvSpPr>
        <dsp:cNvPr id="0" name=""/>
        <dsp:cNvSpPr/>
      </dsp:nvSpPr>
      <dsp:spPr>
        <a:xfrm>
          <a:off x="7247098" y="1785049"/>
          <a:ext cx="325086" cy="4055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>
        <a:off x="7247098" y="1866155"/>
        <a:ext cx="227560" cy="243316"/>
      </dsp:txXfrm>
    </dsp:sp>
    <dsp:sp modelId="{86212746-3EC0-4C33-BB04-60CD1958E525}">
      <dsp:nvSpPr>
        <dsp:cNvPr id="0" name=""/>
        <dsp:cNvSpPr/>
      </dsp:nvSpPr>
      <dsp:spPr>
        <a:xfrm>
          <a:off x="7850831" y="1143967"/>
          <a:ext cx="1687692" cy="16876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3058FA-5BA0-41DB-AA4C-F3503B76A4E3}">
      <dsp:nvSpPr>
        <dsp:cNvPr id="0" name=""/>
        <dsp:cNvSpPr/>
      </dsp:nvSpPr>
      <dsp:spPr>
        <a:xfrm>
          <a:off x="8125571" y="2156583"/>
          <a:ext cx="1687692" cy="1687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DELETE</a:t>
          </a:r>
          <a:endParaRPr lang="en-US" sz="19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Removes a resource.</a:t>
          </a:r>
          <a:endParaRPr lang="en-US" sz="1500" kern="1200" dirty="0"/>
        </a:p>
      </dsp:txBody>
      <dsp:txXfrm>
        <a:off x="8175002" y="2206014"/>
        <a:ext cx="1588830" cy="15888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0">
  <dgm:title val=""/>
  <dgm:desc val=""/>
  <dgm:catLst>
    <dgm:cat type="process" pri="3000"/>
    <dgm:cat type="picture" pri="30000"/>
    <dgm:cat type="pictureconvert" pri="3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op="equ" fact="0.3333"/>
      <dgm:constr type="primFontSz" for="des" forName="txNode" op="equ" val="65"/>
      <dgm:constr type="primFontSz" for="des" forName="connTx" op="equ" val="55"/>
      <dgm:constr type="primFontSz" for="des" forName="connTx" refType="primFontSz" refFor="des" refForName="txNode" op="lte" fact="0.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imagSh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 refType="w" fact="0.14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if>
          <dgm:else name="Name7">
            <dgm:constrLst>
              <dgm:constr type="l" for="ch" forName="imagSh" refType="w" fact="0.14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else>
        </dgm:choose>
        <dgm:ruleLst/>
        <dgm:layoutNode name="imagSh" styleLbl="b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x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imagSh"/>
            <dgm:param type="dstNode" val="imagSh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35"/>
            <dgm:constr type="endPad" refType="connDist" fact="0.3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42B5BF-EC3B-4DF3-8A26-CEBFB72A073D}" type="datetimeFigureOut">
              <a:rPr lang="en-US" smtClean="0"/>
              <a:t>8/3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BA1062-4C98-4545-93B8-D8A522CE7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8932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BA1062-4C98-4545-93B8-D8A522CE7BA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349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S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BA1062-4C98-4545-93B8-D8A522CE7BA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89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8.jp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3">
            <a:lum/>
          </a:blip>
          <a:srcRect/>
          <a:stretch>
            <a:fillRect l="-32000" r="-3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4D41F1E9-0D19-46F8-9402-B43AB06B8BA0}"/>
              </a:ext>
            </a:extLst>
          </p:cNvPr>
          <p:cNvSpPr txBox="1"/>
          <p:nvPr userDrawn="1"/>
        </p:nvSpPr>
        <p:spPr>
          <a:xfrm>
            <a:off x="154113" y="195209"/>
            <a:ext cx="340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200" b="1" dirty="0">
                <a:solidFill>
                  <a:schemeClr val="bg1">
                    <a:lumMod val="9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  <a:r>
              <a:rPr lang="en-IN" sz="3200" b="1" baseline="30000" dirty="0">
                <a:solidFill>
                  <a:schemeClr val="bg1">
                    <a:lumMod val="9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</a:t>
            </a:r>
            <a:r>
              <a:rPr lang="en-IN" sz="3200" b="1" dirty="0">
                <a:solidFill>
                  <a:schemeClr val="bg1">
                    <a:lumMod val="9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September 2018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E52E89A-9A74-4370-9234-58F4B5C9B6E7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54" y="779984"/>
            <a:ext cx="11769970" cy="1160977"/>
          </a:xfrm>
        </p:spPr>
        <p:txBody>
          <a:bodyPr/>
          <a:lstStyle>
            <a:lvl1pPr>
              <a:defRPr b="1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5794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A810117-B2C5-4626-B827-D5DE886D50B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22032" y="3"/>
            <a:ext cx="11769970" cy="894078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F0A11CE-D411-470C-B6FD-FB8F6F5EB573}"/>
              </a:ext>
            </a:extLst>
          </p:cNvPr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422031" y="1382713"/>
            <a:ext cx="11342078" cy="4906962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388098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233B62A-8EB7-49E5-BCEB-078963BE46E9}"/>
              </a:ext>
            </a:extLst>
          </p:cNvPr>
          <p:cNvSpPr txBox="1"/>
          <p:nvPr userDrawn="1"/>
        </p:nvSpPr>
        <p:spPr>
          <a:xfrm>
            <a:off x="230596" y="187885"/>
            <a:ext cx="496116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noProof="0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 further -</a:t>
            </a:r>
            <a:endParaRPr lang="en-US" sz="5400" b="1" dirty="0">
              <a:solidFill>
                <a:schemeClr val="bg1">
                  <a:lumMod val="9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Titre 1">
            <a:extLst>
              <a:ext uri="{FF2B5EF4-FFF2-40B4-BE49-F238E27FC236}">
                <a16:creationId xmlns:a16="http://schemas.microsoft.com/office/drawing/2014/main" id="{E80BD0CA-F227-4E0F-B5BA-D7BB6DBE530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0" y="4204353"/>
            <a:ext cx="12178940" cy="376261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kern="1200">
                <a:solidFill>
                  <a:schemeClr val="accent1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r>
              <a:rPr lang="en-US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ference Links:</a:t>
            </a:r>
          </a:p>
        </p:txBody>
      </p:sp>
    </p:spTree>
    <p:extLst>
      <p:ext uri="{BB962C8B-B14F-4D97-AF65-F5344CB8AC3E}">
        <p14:creationId xmlns:p14="http://schemas.microsoft.com/office/powerpoint/2010/main" val="34758165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233B62A-8EB7-49E5-BCEB-078963BE46E9}"/>
              </a:ext>
            </a:extLst>
          </p:cNvPr>
          <p:cNvSpPr txBox="1"/>
          <p:nvPr userDrawn="1"/>
        </p:nvSpPr>
        <p:spPr>
          <a:xfrm>
            <a:off x="230596" y="187885"/>
            <a:ext cx="399211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noProof="0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 !</a:t>
            </a:r>
            <a:endParaRPr lang="en-US" sz="5400" b="1" dirty="0">
              <a:solidFill>
                <a:schemeClr val="bg1">
                  <a:lumMod val="9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C39B980B-89AE-46E7-B3B5-D5838EB57C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3060" y="4890402"/>
            <a:ext cx="12178940" cy="145665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400" b="1">
                <a:solidFill>
                  <a:schemeClr val="accent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noProof="0" dirty="0"/>
              <a:t>Next Session Title</a:t>
            </a:r>
          </a:p>
        </p:txBody>
      </p:sp>
      <p:sp>
        <p:nvSpPr>
          <p:cNvPr id="26" name="Titre 1">
            <a:extLst>
              <a:ext uri="{FF2B5EF4-FFF2-40B4-BE49-F238E27FC236}">
                <a16:creationId xmlns:a16="http://schemas.microsoft.com/office/drawing/2014/main" id="{E80BD0CA-F227-4E0F-B5BA-D7BB6DBE5303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0" y="4204353"/>
            <a:ext cx="12178940" cy="376261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kern="1200">
                <a:solidFill>
                  <a:schemeClr val="accent1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r>
              <a:rPr lang="en-US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xt Session:</a:t>
            </a:r>
          </a:p>
        </p:txBody>
      </p:sp>
    </p:spTree>
    <p:extLst>
      <p:ext uri="{BB962C8B-B14F-4D97-AF65-F5344CB8AC3E}">
        <p14:creationId xmlns:p14="http://schemas.microsoft.com/office/powerpoint/2010/main" val="21763337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233B62A-8EB7-49E5-BCEB-078963BE46E9}"/>
              </a:ext>
            </a:extLst>
          </p:cNvPr>
          <p:cNvSpPr txBox="1"/>
          <p:nvPr userDrawn="1"/>
        </p:nvSpPr>
        <p:spPr>
          <a:xfrm>
            <a:off x="230596" y="187885"/>
            <a:ext cx="399211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noProof="0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 !</a:t>
            </a:r>
            <a:endParaRPr lang="en-US" sz="5400" b="1" dirty="0">
              <a:solidFill>
                <a:schemeClr val="bg1">
                  <a:lumMod val="9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76018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A810117-B2C5-4626-B827-D5DE886D50B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22032" y="2"/>
            <a:ext cx="11769970" cy="116097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F0A11CE-D411-470C-B6FD-FB8F6F5EB573}"/>
              </a:ext>
            </a:extLst>
          </p:cNvPr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422031" y="1382713"/>
            <a:ext cx="11342078" cy="4906962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FB0ED4-567F-4E71-84C2-8C4FE72167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57212"/>
            <a:ext cx="473916" cy="47391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77C3F60-3D13-498B-9BCC-29C7CE284920}"/>
              </a:ext>
            </a:extLst>
          </p:cNvPr>
          <p:cNvSpPr/>
          <p:nvPr userDrawn="1"/>
        </p:nvSpPr>
        <p:spPr bwMode="auto">
          <a:xfrm>
            <a:off x="-1" y="6357212"/>
            <a:ext cx="12191999" cy="48927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IN" sz="2200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     @spsbangalore</a:t>
            </a:r>
            <a:endParaRPr lang="en-IN" sz="2000" dirty="0">
              <a:solidFill>
                <a:schemeClr val="bg1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BD88B21-9D23-41ED-889A-C4556E00095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372568"/>
            <a:ext cx="473916" cy="47391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867751D-AB3F-4E8F-A832-586351571935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1763289" y="6661691"/>
            <a:ext cx="16030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57756"/>
            <a:fld id="{6A895693-0027-4F28-9367-92E39A51F51C}" type="slidenum"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</a:rPr>
              <a:pPr algn="ctr" defTabSz="957756"/>
              <a:t>‹#›</a:t>
            </a:fld>
            <a:endParaRPr lang="en-US" sz="7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D38A93D-49D5-4B20-ACB8-B8C7F311EA1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894" y="6374184"/>
            <a:ext cx="439972" cy="43997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036A0A9-55E3-4C3E-9A24-D4E6FF1BA03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0017" y="6241829"/>
            <a:ext cx="1957457" cy="720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7125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7A17F71-6963-400F-A6FC-9468ADA82C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57212"/>
            <a:ext cx="473916" cy="4739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8A63651-F435-4B1E-8E1E-4C52C8E50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288" y="74028"/>
            <a:ext cx="1331687" cy="60752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8B72D30-53A2-4080-A2D6-9B5DAB125E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1" y="0"/>
            <a:ext cx="12190325" cy="520825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B95DCE6-492A-4009-B862-76F88ACBC469}"/>
              </a:ext>
            </a:extLst>
          </p:cNvPr>
          <p:cNvSpPr/>
          <p:nvPr userDrawn="1"/>
        </p:nvSpPr>
        <p:spPr>
          <a:xfrm>
            <a:off x="-2" y="3761296"/>
            <a:ext cx="12192000" cy="2023056"/>
          </a:xfrm>
          <a:prstGeom prst="rect">
            <a:avLst/>
          </a:prstGeom>
          <a:ln>
            <a:solidFill>
              <a:srgbClr val="FFFFF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250702D-8125-4613-9D7C-B27DE086434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34" y="4379841"/>
            <a:ext cx="12178940" cy="149392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400" b="1">
                <a:solidFill>
                  <a:schemeClr val="accent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noProof="0" dirty="0"/>
              <a:t>Section Na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09666E-EFD3-48E0-8D3F-3BF1B19E7C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667" y="74028"/>
            <a:ext cx="1739989" cy="96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36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7A17F71-6963-400F-A6FC-9468ADA82C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57212"/>
            <a:ext cx="473916" cy="4739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8A63651-F435-4B1E-8E1E-4C52C8E50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288" y="74028"/>
            <a:ext cx="1331687" cy="60752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8B72D30-53A2-4080-A2D6-9B5DAB125E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78" y="0"/>
            <a:ext cx="12198276" cy="538270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B95DCE6-492A-4009-B862-76F88ACBC469}"/>
              </a:ext>
            </a:extLst>
          </p:cNvPr>
          <p:cNvSpPr/>
          <p:nvPr userDrawn="1"/>
        </p:nvSpPr>
        <p:spPr>
          <a:xfrm>
            <a:off x="-2" y="3761296"/>
            <a:ext cx="12192000" cy="2023056"/>
          </a:xfrm>
          <a:prstGeom prst="rect">
            <a:avLst/>
          </a:prstGeom>
          <a:ln>
            <a:solidFill>
              <a:srgbClr val="FFFFF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250702D-8125-4613-9D7C-B27DE086434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9334" y="4379841"/>
            <a:ext cx="12178940" cy="149392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400" b="1">
                <a:solidFill>
                  <a:schemeClr val="accent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noProof="0" dirty="0"/>
              <a:t>Section Na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7973D7-0F88-419E-821F-87806E36E8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405" y="74028"/>
            <a:ext cx="1739989" cy="96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262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EC1EA1-6570-4B4D-9E23-592797F13C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943" y="156120"/>
            <a:ext cx="10515600" cy="797469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5AA0CD-A025-496F-9231-485A1329AB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969784-BDC5-4ED3-A510-7C19032B66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CF793D-4D32-49A8-AAAE-1143C25664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57212"/>
            <a:ext cx="473916" cy="473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409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401281-9A86-4956-A82F-9A89527B08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441049-D08E-4709-B96F-6F762CAAC5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12696C-9407-4B5B-8215-658DEAF733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56FDB10-EC9F-477C-82BC-7217ACEFAE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ECC715A-4D8D-4B7B-BB73-C8D016662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943" y="156120"/>
            <a:ext cx="10515600" cy="797469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8674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095CDB9-53B3-4CB1-A213-3330BBAA8A2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22032" y="3"/>
            <a:ext cx="11769970" cy="894078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6479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0A31F9-6CFD-4120-91B2-D47D7CD9273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619794"/>
            <a:ext cx="6172200" cy="42412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439F65-87B8-4D1C-BDA7-9B913FD18F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619794"/>
            <a:ext cx="3932237" cy="42491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30FB63-9543-471D-AF9A-4A331FF702B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22032" y="3"/>
            <a:ext cx="11769970" cy="894078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5173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EF8AE9-6C93-454B-8BA7-E4DF75A56A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7D8C952-29A1-4801-BF8C-CC2C01B9245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22032" y="3"/>
            <a:ext cx="11769970" cy="894078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370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jp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17.xml"/><Relationship Id="rId11" Type="http://schemas.openxmlformats.org/officeDocument/2006/relationships/image" Target="../media/image4.png"/><Relationship Id="rId5" Type="http://schemas.openxmlformats.org/officeDocument/2006/relationships/tags" Target="../tags/tag16.xml"/><Relationship Id="rId10" Type="http://schemas.openxmlformats.org/officeDocument/2006/relationships/image" Target="../media/image3.png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6B0BC36-63D0-4BA6-8BBC-B0261D5A979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422032" y="2"/>
            <a:ext cx="11769970" cy="113121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9279882-4103-4BC9-85DB-2403D7DA2099}"/>
              </a:ext>
            </a:extLst>
          </p:cNvPr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422031" y="1382713"/>
            <a:ext cx="11342078" cy="4906962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7242FAF4-7660-4AC6-BD82-4BE5A184E782}"/>
              </a:ext>
            </a:extLst>
          </p:cNvPr>
          <p:cNvCxnSpPr/>
          <p:nvPr userDrawn="1">
            <p:custDataLst>
              <p:tags r:id="rId14"/>
            </p:custDataLst>
          </p:nvPr>
        </p:nvCxnSpPr>
        <p:spPr>
          <a:xfrm flipH="1">
            <a:off x="0" y="6343783"/>
            <a:ext cx="12191999" cy="0"/>
          </a:xfrm>
          <a:prstGeom prst="line">
            <a:avLst/>
          </a:prstGeom>
          <a:ln w="9525" cmpd="sng">
            <a:solidFill>
              <a:srgbClr val="00B0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A997E56-D4B8-47C6-A288-4ED4A6A0600F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763289" y="6661691"/>
            <a:ext cx="16030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57756"/>
            <a:fld id="{6A895693-0027-4F28-9367-92E39A51F51C}" type="slidenum"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</a:rPr>
              <a:pPr algn="ctr" defTabSz="957756"/>
              <a:t>‹#›</a:t>
            </a:fld>
            <a:endParaRPr lang="en-US" sz="7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0F55E2-DA34-4590-96F4-25F28EC70BE3}"/>
              </a:ext>
            </a:extLst>
          </p:cNvPr>
          <p:cNvSpPr/>
          <p:nvPr userDrawn="1"/>
        </p:nvSpPr>
        <p:spPr bwMode="auto">
          <a:xfrm>
            <a:off x="-1" y="6357212"/>
            <a:ext cx="12191999" cy="48927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IN" sz="2200" b="1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     @</a:t>
            </a:r>
            <a:r>
              <a:rPr lang="en-IN" sz="2200" b="1" dirty="0" err="1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spsbangalore</a:t>
            </a:r>
            <a:r>
              <a:rPr lang="en-IN" sz="2200" b="1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#</a:t>
            </a:r>
            <a:r>
              <a:rPr lang="en-IN" sz="2200" b="1" dirty="0" err="1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SPSBangalore</a:t>
            </a:r>
            <a:endParaRPr lang="en-IN" sz="2000" b="1" dirty="0">
              <a:solidFill>
                <a:schemeClr val="bg1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FECF1FA-E881-4269-B4D0-5A678905E46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57212"/>
            <a:ext cx="473916" cy="47391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253ABDE-9AD1-40F9-9215-343F016423F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894" y="6374184"/>
            <a:ext cx="439972" cy="4399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26EBA94-DFF8-4856-8965-5F06953AA414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0017" y="6241829"/>
            <a:ext cx="1957457" cy="7200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508EDF7-5CC7-4E34-AAC9-016FD5AA115C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745" y="82983"/>
            <a:ext cx="1739989" cy="96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627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72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5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FF330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2FA9F55-DC9A-43AE-B79D-407295F354A1}"/>
              </a:ext>
            </a:extLst>
          </p:cNvPr>
          <p:cNvSpPr/>
          <p:nvPr userDrawn="1"/>
        </p:nvSpPr>
        <p:spPr>
          <a:xfrm>
            <a:off x="-1446" y="5413248"/>
            <a:ext cx="12193446" cy="14447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A6D5DBE-D4AF-4A2C-BE42-7ADF9119DC34}"/>
              </a:ext>
            </a:extLst>
          </p:cNvPr>
          <p:cNvSpPr/>
          <p:nvPr userDrawn="1"/>
        </p:nvSpPr>
        <p:spPr>
          <a:xfrm>
            <a:off x="0" y="3821987"/>
            <a:ext cx="12192000" cy="2313638"/>
          </a:xfrm>
          <a:prstGeom prst="rect">
            <a:avLst/>
          </a:prstGeom>
          <a:ln>
            <a:solidFill>
              <a:srgbClr val="FFFFF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F959FEA9-9AC8-4B6A-B378-6B0065FC7EA8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 flipH="1">
            <a:off x="0" y="6343783"/>
            <a:ext cx="12191999" cy="0"/>
          </a:xfrm>
          <a:prstGeom prst="line">
            <a:avLst/>
          </a:prstGeom>
          <a:ln w="9525" cmpd="sng">
            <a:solidFill>
              <a:srgbClr val="00B0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BFB08EA-CBA4-48C2-B29E-A1A9DA817C4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1763289" y="6661691"/>
            <a:ext cx="160300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57756"/>
            <a:fld id="{6A895693-0027-4F28-9367-92E39A51F51C}" type="slidenum"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</a:rPr>
              <a:pPr algn="ctr" defTabSz="957756"/>
              <a:t>‹#›</a:t>
            </a:fld>
            <a:endParaRPr lang="en-US" sz="7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1097D4-A872-4417-94B4-A4159A3E24E8}"/>
              </a:ext>
            </a:extLst>
          </p:cNvPr>
          <p:cNvSpPr/>
          <p:nvPr userDrawn="1"/>
        </p:nvSpPr>
        <p:spPr bwMode="auto">
          <a:xfrm>
            <a:off x="-1" y="6357212"/>
            <a:ext cx="12191999" cy="48927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IN" sz="2200" b="1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     @</a:t>
            </a:r>
            <a:r>
              <a:rPr lang="en-IN" sz="2200" b="1" dirty="0" err="1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spsbangalore</a:t>
            </a:r>
            <a:r>
              <a:rPr lang="en-IN" sz="2200" b="1" dirty="0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#</a:t>
            </a:r>
            <a:r>
              <a:rPr lang="en-IN" sz="2200" b="1" dirty="0" err="1">
                <a:solidFill>
                  <a:schemeClr val="bg1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SPSBangalore</a:t>
            </a:r>
            <a:endParaRPr lang="en-IN" sz="2000" b="1" dirty="0">
              <a:solidFill>
                <a:schemeClr val="bg1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253A009-52F5-4092-B131-BFF5C799BF2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57212"/>
            <a:ext cx="473916" cy="4739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F13B3DD-E000-45B6-B6AC-0090E852B49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894" y="6374184"/>
            <a:ext cx="439972" cy="43997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7A74AF5-E138-4B86-B84F-C7AC075042A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0017" y="6241829"/>
            <a:ext cx="1957457" cy="72003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ED9A1AC-9CED-486D-B2E2-D2FB9002EEC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899" y="3861294"/>
            <a:ext cx="1739989" cy="96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6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73" r:id="rId2"/>
    <p:sldLayoutId id="2147483674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freecodecamp.org/node-js-child-processes-everything-you-need-to-know-e69498fe970a" TargetMode="External"/><Relationship Id="rId2" Type="http://schemas.openxmlformats.org/officeDocument/2006/relationships/hyperlink" Target="https://nodejs.org/api/child_process.html" TargetMode="Externa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ChendrayanV/Events-2018-2019" TargetMode="External"/><Relationship Id="rId3" Type="http://schemas.openxmlformats.org/officeDocument/2006/relationships/hyperlink" Target="https://docs.microsoft.com/en-us/sharepoint/dev/sp-add-ins/complete-basic-operations-using-sharepoint-client-library-code" TargetMode="External"/><Relationship Id="rId7" Type="http://schemas.openxmlformats.org/officeDocument/2006/relationships/hyperlink" Target="https://www.npmjs.com/package/node-powershel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expressjs.com/" TargetMode="External"/><Relationship Id="rId5" Type="http://schemas.openxmlformats.org/officeDocument/2006/relationships/hyperlink" Target="https://pugjs.org/api/getting-started.html" TargetMode="External"/><Relationship Id="rId4" Type="http://schemas.openxmlformats.org/officeDocument/2006/relationships/hyperlink" Target="https://nodejs.org/en/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shell/scripting/setup/installing-powershell?view=powershell-6" TargetMode="External"/><Relationship Id="rId2" Type="http://schemas.openxmlformats.org/officeDocument/2006/relationships/hyperlink" Target="https://docs.microsoft.com/en-us/powershell/scripting/powershell-scripting?view=powershell-5.1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docs.microsoft.com/en-us/powershell/scripting/getting-started/fundamental/using-windows-powershell-for-administration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nodejs.org/dist/v10.9.0/node-v10.9.0-x64.msi" TargetMode="External"/><Relationship Id="rId3" Type="http://schemas.openxmlformats.org/officeDocument/2006/relationships/diagramLayout" Target="../diagrams/layout1.xml"/><Relationship Id="rId7" Type="http://schemas.openxmlformats.org/officeDocument/2006/relationships/hyperlink" Target="https://nodejs.org/dist/v8.11.4/node-v8.11.4-x64.msi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1.jpe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0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A14414F-55F0-4BDE-9B72-EB12396BB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dirty="0" smtClean="0"/>
              <a:t>Use Node.js and PowerShell to work with SharePoint data</a:t>
            </a:r>
            <a:endParaRPr lang="en-IN" sz="3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0FB1F7-8188-49F8-A235-4EBF9ADA695E}"/>
              </a:ext>
            </a:extLst>
          </p:cNvPr>
          <p:cNvSpPr txBox="1"/>
          <p:nvPr/>
        </p:nvSpPr>
        <p:spPr>
          <a:xfrm>
            <a:off x="0" y="1607856"/>
            <a:ext cx="57126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800" b="1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endrayan Venkatesan (Chen V)</a:t>
            </a:r>
            <a:endParaRPr lang="en-IN" dirty="0">
              <a:solidFill>
                <a:schemeClr val="bg1">
                  <a:lumMod val="9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800" b="0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 Automation Lead Engineer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99879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Tful Operations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845277031"/>
              </p:ext>
            </p:extLst>
          </p:nvPr>
        </p:nvGraphicFramePr>
        <p:xfrm>
          <a:off x="838200" y="1188720"/>
          <a:ext cx="9814560" cy="49882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5090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web apps and RESTful AP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343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ild_Proces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An event emitter</a:t>
            </a:r>
          </a:p>
          <a:p>
            <a:r>
              <a:rPr lang="en-US" dirty="0"/>
              <a:t>Subjected to use with (Creates an instance)</a:t>
            </a:r>
          </a:p>
          <a:p>
            <a:pPr lvl="1"/>
            <a:r>
              <a:rPr lang="en-US" dirty="0"/>
              <a:t>SPAWN()</a:t>
            </a:r>
          </a:p>
          <a:p>
            <a:pPr lvl="1"/>
            <a:r>
              <a:rPr lang="en-US" dirty="0"/>
              <a:t>EXEC()</a:t>
            </a:r>
          </a:p>
          <a:p>
            <a:pPr lvl="1"/>
            <a:r>
              <a:rPr lang="en-US" dirty="0"/>
              <a:t>EXECFILE()</a:t>
            </a:r>
          </a:p>
          <a:p>
            <a:pPr lvl="1"/>
            <a:r>
              <a:rPr lang="en-US" dirty="0"/>
              <a:t>FORK()</a:t>
            </a:r>
          </a:p>
          <a:p>
            <a:r>
              <a:rPr lang="en-US" dirty="0"/>
              <a:t>Has three streams</a:t>
            </a:r>
          </a:p>
          <a:p>
            <a:pPr lvl="1"/>
            <a:r>
              <a:rPr lang="en-US" dirty="0" err="1" smtClean="0"/>
              <a:t>Stdin</a:t>
            </a:r>
            <a:r>
              <a:rPr lang="en-US" dirty="0" smtClean="0"/>
              <a:t> | </a:t>
            </a:r>
            <a:r>
              <a:rPr lang="en-US" dirty="0" err="1" smtClean="0"/>
              <a:t>Stdout</a:t>
            </a:r>
            <a:r>
              <a:rPr lang="en-US" dirty="0" smtClean="0"/>
              <a:t> | </a:t>
            </a:r>
            <a:r>
              <a:rPr lang="en-US" dirty="0" err="1" smtClean="0"/>
              <a:t>Stderr</a:t>
            </a:r>
            <a:endParaRPr lang="en-US" dirty="0"/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Reference Link</a:t>
            </a:r>
          </a:p>
          <a:p>
            <a:pPr lvl="1"/>
            <a:r>
              <a:rPr lang="en-US" dirty="0" smtClean="0">
                <a:hlinkClick r:id="rId2"/>
              </a:rPr>
              <a:t>Child_Process</a:t>
            </a:r>
            <a:endParaRPr lang="en-US" dirty="0" smtClean="0"/>
          </a:p>
          <a:p>
            <a:pPr lvl="1"/>
            <a:r>
              <a:rPr lang="en-US" dirty="0" smtClean="0">
                <a:hlinkClick r:id="rId3"/>
              </a:rPr>
              <a:t>Good Blog about Child_Process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76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Get Started!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596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Yes! You </a:t>
            </a:r>
            <a:r>
              <a:rPr lang="en-US" dirty="0"/>
              <a:t>C</a:t>
            </a:r>
            <a:r>
              <a:rPr lang="en-US" dirty="0" smtClean="0"/>
              <a:t>an! </a:t>
            </a:r>
            <a:endParaRPr lang="en-US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1825625"/>
            <a:ext cx="5059680" cy="4194175"/>
          </a:xfrm>
        </p:spPr>
      </p:pic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50" y="1825625"/>
            <a:ext cx="5124450" cy="4194175"/>
          </a:xfrm>
        </p:spPr>
      </p:pic>
    </p:spTree>
    <p:extLst>
      <p:ext uri="{BB962C8B-B14F-4D97-AF65-F5344CB8AC3E}">
        <p14:creationId xmlns:p14="http://schemas.microsoft.com/office/powerpoint/2010/main" val="2312398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55C45-BFAA-44DF-ACF2-38FA4391E01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060" y="4890402"/>
            <a:ext cx="12178940" cy="1456658"/>
          </a:xfrm>
          <a:prstGeom prst="rect">
            <a:avLst/>
          </a:prstGeom>
        </p:spPr>
        <p:txBody>
          <a:bodyPr/>
          <a:lstStyle/>
          <a:p>
            <a:r>
              <a:rPr lang="en-IN" dirty="0" smtClean="0">
                <a:hlinkClick r:id="rId3"/>
              </a:rPr>
              <a:t>CSOM</a:t>
            </a:r>
            <a:r>
              <a:rPr lang="en-IN" dirty="0" smtClean="0"/>
              <a:t> | </a:t>
            </a:r>
            <a:r>
              <a:rPr lang="en-IN" dirty="0" smtClean="0">
                <a:hlinkClick r:id="rId4"/>
              </a:rPr>
              <a:t>Node.js</a:t>
            </a:r>
            <a:r>
              <a:rPr lang="en-IN" dirty="0" smtClean="0"/>
              <a:t> | </a:t>
            </a:r>
            <a:r>
              <a:rPr lang="en-IN" dirty="0" smtClean="0">
                <a:hlinkClick r:id="rId5"/>
              </a:rPr>
              <a:t>PUG</a:t>
            </a:r>
            <a:r>
              <a:rPr lang="en-IN" dirty="0" smtClean="0"/>
              <a:t> | </a:t>
            </a:r>
            <a:r>
              <a:rPr lang="en-IN" dirty="0" smtClean="0">
                <a:hlinkClick r:id="rId6"/>
              </a:rPr>
              <a:t>Express</a:t>
            </a:r>
            <a:r>
              <a:rPr lang="en-IN" dirty="0" smtClean="0"/>
              <a:t> | </a:t>
            </a:r>
            <a:r>
              <a:rPr lang="en-IN" dirty="0" smtClean="0">
                <a:hlinkClick r:id="rId7"/>
              </a:rPr>
              <a:t>PowerShell</a:t>
            </a:r>
            <a:r>
              <a:rPr lang="en-IN" dirty="0" smtClean="0"/>
              <a:t> | </a:t>
            </a:r>
            <a:r>
              <a:rPr lang="en-IN" dirty="0" smtClean="0">
                <a:hlinkClick r:id="rId8"/>
              </a:rPr>
              <a:t>Event Conte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144915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E242442-6616-445A-96DB-02085C6038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176447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EE5B93-E4D8-433B-BFE1-B308D347E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genda</a:t>
            </a:r>
            <a:endParaRPr lang="en-IN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2426B5A-D7DF-463B-B9E0-C610B8CF72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CSOM (Client Side Object Model)</a:t>
            </a:r>
          </a:p>
          <a:p>
            <a:r>
              <a:rPr lang="en-IN" dirty="0" smtClean="0"/>
              <a:t>Microsoft PowerShell</a:t>
            </a:r>
          </a:p>
          <a:p>
            <a:r>
              <a:rPr lang="en-IN" dirty="0" smtClean="0"/>
              <a:t>Node.js | Express | PUG</a:t>
            </a:r>
          </a:p>
          <a:p>
            <a:r>
              <a:rPr lang="en-IN" dirty="0" smtClean="0"/>
              <a:t>What RESTful API can do? </a:t>
            </a:r>
          </a:p>
          <a:p>
            <a:r>
              <a:rPr lang="en-IN" smtClean="0"/>
              <a:t>About SHiPS </a:t>
            </a:r>
            <a:r>
              <a:rPr lang="en-IN" dirty="0" smtClean="0"/>
              <a:t>PowerShell module! </a:t>
            </a:r>
          </a:p>
          <a:p>
            <a:r>
              <a:rPr lang="en-IN" dirty="0" smtClean="0"/>
              <a:t>Demo</a:t>
            </a:r>
          </a:p>
          <a:p>
            <a:pPr lvl="1"/>
            <a:r>
              <a:rPr lang="en-IN" dirty="0"/>
              <a:t>Building Web Apps and RESTful API | child_process (</a:t>
            </a:r>
            <a:r>
              <a:rPr lang="en-IN" dirty="0" smtClean="0"/>
              <a:t>PowerShell </a:t>
            </a:r>
            <a:r>
              <a:rPr lang="en-IN" dirty="0"/>
              <a:t>/ Python)</a:t>
            </a:r>
          </a:p>
          <a:p>
            <a:pPr lvl="1"/>
            <a:r>
              <a:rPr lang="en-IN" dirty="0"/>
              <a:t>Deploy as Windows Service(s) – Microservices!</a:t>
            </a:r>
          </a:p>
          <a:p>
            <a:pPr lvl="1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53491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6457A8D-B2C5-4648-A497-4F964C1E0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4215100"/>
            <a:ext cx="12178940" cy="1843952"/>
          </a:xfrm>
        </p:spPr>
        <p:txBody>
          <a:bodyPr/>
          <a:lstStyle/>
          <a:p>
            <a:r>
              <a:rPr lang="en-IN" dirty="0" smtClean="0"/>
              <a:t>Client Side Object Mod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0127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2E5B1C8-8EB8-43C1-BF3C-2DB61B87B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943" y="156120"/>
            <a:ext cx="9841053" cy="797469"/>
          </a:xfrm>
        </p:spPr>
        <p:txBody>
          <a:bodyPr/>
          <a:lstStyle/>
          <a:p>
            <a:r>
              <a:rPr lang="en-IN" dirty="0" smtClean="0"/>
              <a:t>Client Side Object Model</a:t>
            </a:r>
            <a:endParaRPr lang="en-IN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287620-B8C9-4790-BAA3-3CC646FA4A0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IN" dirty="0" smtClean="0"/>
              <a:t>Used for building Client Side Applications which was introduced in SharePoint 2010. </a:t>
            </a:r>
          </a:p>
          <a:p>
            <a:r>
              <a:rPr lang="en-IN" dirty="0" smtClean="0"/>
              <a:t>Allows to work with SharePoint without web services</a:t>
            </a:r>
          </a:p>
          <a:p>
            <a:r>
              <a:rPr lang="en-IN" dirty="0" smtClean="0"/>
              <a:t>Subset of Server Object Model.</a:t>
            </a:r>
            <a:endParaRPr lang="en-IN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192BE85-4902-4CDB-A502-C211543F1D1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IN" dirty="0" smtClean="0"/>
              <a:t>Language flexibility (.NET, Silverlight , ECMA[JAVASCRIPT])</a:t>
            </a:r>
          </a:p>
          <a:p>
            <a:r>
              <a:rPr lang="en-IN" dirty="0" smtClean="0"/>
              <a:t>Performance Optimization.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53234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6457A8D-B2C5-4648-A497-4F964C1E0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4215100"/>
            <a:ext cx="12178940" cy="1843952"/>
          </a:xfrm>
        </p:spPr>
        <p:txBody>
          <a:bodyPr/>
          <a:lstStyle/>
          <a:p>
            <a:r>
              <a:rPr lang="en-IN" dirty="0" smtClean="0"/>
              <a:t>Microsoft PowerShel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13410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crosoft PowerShel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PowerShell is a task based command-line shell.</a:t>
            </a:r>
          </a:p>
          <a:p>
            <a:r>
              <a:rPr lang="en-US" dirty="0" smtClean="0"/>
              <a:t>More than a scripting language built on the .NET Framework.</a:t>
            </a:r>
          </a:p>
          <a:p>
            <a:r>
              <a:rPr lang="en-US" dirty="0" smtClean="0"/>
              <a:t>Power users and Admins to rapidly automate tasks. </a:t>
            </a:r>
          </a:p>
          <a:p>
            <a:r>
              <a:rPr lang="en-US" dirty="0" smtClean="0"/>
              <a:t>PowerShell includes rich expression parser and a fully developed scripting language.</a:t>
            </a:r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Verb-Noun makes life easier. </a:t>
            </a:r>
          </a:p>
          <a:p>
            <a:r>
              <a:rPr lang="en-US" dirty="0" smtClean="0"/>
              <a:t>Object Orientation. </a:t>
            </a:r>
            <a:endParaRPr lang="en-US" dirty="0" smtClean="0">
              <a:hlinkClick r:id="rId2"/>
            </a:endParaRPr>
          </a:p>
          <a:p>
            <a:r>
              <a:rPr lang="en-US" dirty="0" smtClean="0">
                <a:hlinkClick r:id="rId2"/>
              </a:rPr>
              <a:t>Get Started with Windows PowerShell</a:t>
            </a:r>
            <a:endParaRPr lang="en-US" dirty="0" smtClean="0"/>
          </a:p>
          <a:p>
            <a:r>
              <a:rPr lang="en-US" dirty="0" smtClean="0">
                <a:hlinkClick r:id="rId3"/>
              </a:rPr>
              <a:t>Set up and Installation</a:t>
            </a:r>
            <a:r>
              <a:rPr lang="en-US" dirty="0" smtClean="0"/>
              <a:t>.</a:t>
            </a:r>
          </a:p>
          <a:p>
            <a:r>
              <a:rPr lang="en-US" dirty="0" smtClean="0">
                <a:hlinkClick r:id="rId4"/>
              </a:rPr>
              <a:t>Tutorials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883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de.JS | Express | PU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003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de.js | Express | PUG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977263679"/>
              </p:ext>
            </p:extLst>
          </p:nvPr>
        </p:nvGraphicFramePr>
        <p:xfrm>
          <a:off x="838200" y="1825625"/>
          <a:ext cx="5181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Get Node.js </a:t>
            </a:r>
            <a:r>
              <a:rPr lang="en-US" dirty="0" smtClean="0">
                <a:hlinkClick r:id="rId7"/>
              </a:rPr>
              <a:t>8.11.3</a:t>
            </a:r>
            <a:r>
              <a:rPr lang="en-US" dirty="0" smtClean="0"/>
              <a:t> LTS or </a:t>
            </a:r>
            <a:r>
              <a:rPr lang="en-US" dirty="0" smtClean="0">
                <a:hlinkClick r:id="rId8"/>
              </a:rPr>
              <a:t>10.7.0</a:t>
            </a:r>
            <a:endParaRPr lang="en-US" dirty="0" smtClean="0"/>
          </a:p>
          <a:p>
            <a:r>
              <a:rPr lang="en-US" dirty="0" smtClean="0"/>
              <a:t>npm install express –s</a:t>
            </a:r>
          </a:p>
          <a:p>
            <a:r>
              <a:rPr lang="en-US" dirty="0" smtClean="0"/>
              <a:t>npm install pug –s</a:t>
            </a:r>
          </a:p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3785616"/>
            <a:ext cx="3063240" cy="227990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080" y="3785616"/>
            <a:ext cx="2514600" cy="2279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5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RESTful API can do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9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heme/theme1.xml><?xml version="1.0" encoding="utf-8"?>
<a:theme xmlns:a="http://schemas.openxmlformats.org/drawingml/2006/main" name="1_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alibri-Cambria">
      <a:majorFont>
        <a:latin typeface="Calibri" panose="020F0502020204030204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 panose="02040503050406030204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17</TotalTime>
  <Words>336</Words>
  <Application>Microsoft Office PowerPoint</Application>
  <PresentationFormat>Widescreen</PresentationFormat>
  <Paragraphs>75</Paragraphs>
  <Slides>1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Calibri Light</vt:lpstr>
      <vt:lpstr>Cambria</vt:lpstr>
      <vt:lpstr>Segoe UI</vt:lpstr>
      <vt:lpstr>Segoe UI Light</vt:lpstr>
      <vt:lpstr>1_Office Theme</vt:lpstr>
      <vt:lpstr>Custom Design</vt:lpstr>
      <vt:lpstr>Use Node.js and PowerShell to work with SharePoint data</vt:lpstr>
      <vt:lpstr>Agenda</vt:lpstr>
      <vt:lpstr>Client Side Object Model</vt:lpstr>
      <vt:lpstr>Client Side Object Model</vt:lpstr>
      <vt:lpstr>Microsoft PowerShell</vt:lpstr>
      <vt:lpstr>Microsoft PowerShell</vt:lpstr>
      <vt:lpstr>Node.JS | Express | PUG</vt:lpstr>
      <vt:lpstr>Node.js | Express | PUG</vt:lpstr>
      <vt:lpstr>What RESTful API can do?</vt:lpstr>
      <vt:lpstr>RESTful Operations</vt:lpstr>
      <vt:lpstr>Building web apps and RESTful API</vt:lpstr>
      <vt:lpstr>Child_Process </vt:lpstr>
      <vt:lpstr>Let’s Get Started! </vt:lpstr>
      <vt:lpstr>Yes! You Can! </vt:lpstr>
      <vt:lpstr>CSOM | Node.js | PUG | Express | PowerShell | Event Conten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pti Chhatrapati</dc:creator>
  <cp:lastModifiedBy>Chendrayan Venkatesan</cp:lastModifiedBy>
  <cp:revision>269</cp:revision>
  <dcterms:created xsi:type="dcterms:W3CDTF">2017-08-27T10:48:52Z</dcterms:created>
  <dcterms:modified xsi:type="dcterms:W3CDTF">2018-08-30T09:52:03Z</dcterms:modified>
</cp:coreProperties>
</file>